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1" r:id="rId2"/>
  </p:sldMasterIdLst>
  <p:notesMasterIdLst>
    <p:notesMasterId r:id="rId26"/>
  </p:notesMasterIdLst>
  <p:sldIdLst>
    <p:sldId id="256" r:id="rId3"/>
    <p:sldId id="267" r:id="rId4"/>
    <p:sldId id="281" r:id="rId5"/>
    <p:sldId id="283" r:id="rId6"/>
    <p:sldId id="293" r:id="rId7"/>
    <p:sldId id="288" r:id="rId8"/>
    <p:sldId id="294" r:id="rId9"/>
    <p:sldId id="284" r:id="rId10"/>
    <p:sldId id="295" r:id="rId11"/>
    <p:sldId id="285" r:id="rId12"/>
    <p:sldId id="296" r:id="rId13"/>
    <p:sldId id="286" r:id="rId14"/>
    <p:sldId id="592" r:id="rId15"/>
    <p:sldId id="289" r:id="rId16"/>
    <p:sldId id="298" r:id="rId17"/>
    <p:sldId id="596" r:id="rId18"/>
    <p:sldId id="593" r:id="rId19"/>
    <p:sldId id="582" r:id="rId20"/>
    <p:sldId id="300" r:id="rId21"/>
    <p:sldId id="301" r:id="rId22"/>
    <p:sldId id="599" r:id="rId23"/>
    <p:sldId id="586" r:id="rId24"/>
    <p:sldId id="588" r:id="rId25"/>
  </p:sldIdLst>
  <p:sldSz cx="12192000" cy="6858000"/>
  <p:notesSz cx="6794500" cy="9906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4EDF9"/>
    <a:srgbClr val="009ED4"/>
    <a:srgbClr val="FFFFFF"/>
    <a:srgbClr val="000004"/>
    <a:srgbClr val="000003"/>
    <a:srgbClr val="000002"/>
    <a:srgbClr val="000001"/>
    <a:srgbClr val="000000"/>
    <a:srgbClr val="FFFFFB"/>
    <a:srgbClr val="FFFF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5" autoAdjust="0"/>
    <p:restoredTop sz="75356" autoAdjust="0"/>
  </p:normalViewPr>
  <p:slideViewPr>
    <p:cSldViewPr snapToGrid="0">
      <p:cViewPr varScale="1">
        <p:scale>
          <a:sx n="100" d="100"/>
          <a:sy n="100" d="100"/>
        </p:scale>
        <p:origin x="1430" y="41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9" d="100"/>
          <a:sy n="99" d="100"/>
        </p:scale>
        <p:origin x="3570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sv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2" Type="http://schemas.openxmlformats.org/officeDocument/2006/relationships/image" Target="../media/image55.svg"/><Relationship Id="rId1" Type="http://schemas.openxmlformats.org/officeDocument/2006/relationships/image" Target="../media/image54.png"/><Relationship Id="rId6" Type="http://schemas.openxmlformats.org/officeDocument/2006/relationships/image" Target="../media/image59.svg"/><Relationship Id="rId5" Type="http://schemas.openxmlformats.org/officeDocument/2006/relationships/image" Target="../media/image58.png"/><Relationship Id="rId4" Type="http://schemas.openxmlformats.org/officeDocument/2006/relationships/image" Target="../media/image57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svg"/><Relationship Id="rId3" Type="http://schemas.openxmlformats.org/officeDocument/2006/relationships/image" Target="../media/image56.png"/><Relationship Id="rId7" Type="http://schemas.openxmlformats.org/officeDocument/2006/relationships/image" Target="../media/image60.png"/><Relationship Id="rId2" Type="http://schemas.openxmlformats.org/officeDocument/2006/relationships/image" Target="../media/image55.svg"/><Relationship Id="rId1" Type="http://schemas.openxmlformats.org/officeDocument/2006/relationships/image" Target="../media/image54.png"/><Relationship Id="rId6" Type="http://schemas.openxmlformats.org/officeDocument/2006/relationships/image" Target="../media/image59.svg"/><Relationship Id="rId5" Type="http://schemas.openxmlformats.org/officeDocument/2006/relationships/image" Target="../media/image58.png"/><Relationship Id="rId4" Type="http://schemas.openxmlformats.org/officeDocument/2006/relationships/image" Target="../media/image57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79CE3E8-E872-418F-A81E-F1574C68E0C9}" type="doc">
      <dgm:prSet loTypeId="urn:microsoft.com/office/officeart/2018/2/layout/IconLabel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774B2D8-4F71-4EE8-8B9E-9921A44770BE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de-DE" sz="1600"/>
            <a:t>Erfasst kognitive Kompetenzen von Erwachsenen im internationalen Vergleich </a:t>
          </a:r>
          <a:endParaRPr lang="en-US" sz="1600" dirty="0"/>
        </a:p>
      </dgm:t>
    </dgm:pt>
    <dgm:pt modelId="{9D9936CA-7020-409A-89CE-516670875D8B}" type="parTrans" cxnId="{29BB40E7-5476-4623-96F2-0C4EBE655C3D}">
      <dgm:prSet/>
      <dgm:spPr/>
      <dgm:t>
        <a:bodyPr/>
        <a:lstStyle/>
        <a:p>
          <a:endParaRPr lang="en-US" sz="1600"/>
        </a:p>
      </dgm:t>
    </dgm:pt>
    <dgm:pt modelId="{4A3C97EC-0F0D-4154-BA31-74F605F7CB8E}" type="sibTrans" cxnId="{29BB40E7-5476-4623-96F2-0C4EBE655C3D}">
      <dgm:prSet/>
      <dgm:spPr/>
      <dgm:t>
        <a:bodyPr/>
        <a:lstStyle/>
        <a:p>
          <a:pPr>
            <a:lnSpc>
              <a:spcPct val="100000"/>
            </a:lnSpc>
          </a:pPr>
          <a:endParaRPr lang="en-US" sz="1600"/>
        </a:p>
      </dgm:t>
    </dgm:pt>
    <dgm:pt modelId="{313345BC-2E92-4E49-8A1F-19FDE08361B5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de-DE" sz="1600" dirty="0"/>
            <a:t>OECD – Studie in über 40 Ländern</a:t>
          </a:r>
          <a:endParaRPr lang="en-US" sz="1600" dirty="0"/>
        </a:p>
      </dgm:t>
    </dgm:pt>
    <dgm:pt modelId="{5F811807-82B3-4FE1-BE5B-89E141207CB3}" type="parTrans" cxnId="{7021BF02-5F64-4B55-9747-AAFF70C24A48}">
      <dgm:prSet/>
      <dgm:spPr/>
      <dgm:t>
        <a:bodyPr/>
        <a:lstStyle/>
        <a:p>
          <a:endParaRPr lang="en-US" sz="1600"/>
        </a:p>
      </dgm:t>
    </dgm:pt>
    <dgm:pt modelId="{3F9F5395-0B7F-4B1E-9064-14B8B8F564A6}" type="sibTrans" cxnId="{7021BF02-5F64-4B55-9747-AAFF70C24A48}">
      <dgm:prSet/>
      <dgm:spPr/>
      <dgm:t>
        <a:bodyPr/>
        <a:lstStyle/>
        <a:p>
          <a:pPr>
            <a:lnSpc>
              <a:spcPct val="100000"/>
            </a:lnSpc>
          </a:pPr>
          <a:endParaRPr lang="en-US" sz="1600"/>
        </a:p>
      </dgm:t>
    </dgm:pt>
    <dgm:pt modelId="{25A71D65-7993-4CF0-9D66-E592EE3BFA11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de-DE" sz="1600" dirty="0"/>
            <a:t>Repräsentatives Sample: 16 - 65 Jährige; </a:t>
          </a:r>
          <a:r>
            <a:rPr lang="de-DE" sz="1600" i="1" dirty="0"/>
            <a:t>N</a:t>
          </a:r>
          <a:r>
            <a:rPr lang="de-DE" sz="1600" dirty="0"/>
            <a:t>= ca. 5.000 Befragte pro Land</a:t>
          </a:r>
          <a:endParaRPr lang="en-US" sz="1600" dirty="0"/>
        </a:p>
      </dgm:t>
    </dgm:pt>
    <dgm:pt modelId="{64D15DA5-8B1D-4684-917C-F3AC069B3B0A}" type="parTrans" cxnId="{CA0393BE-50D8-438B-B373-DC23EC623444}">
      <dgm:prSet/>
      <dgm:spPr/>
      <dgm:t>
        <a:bodyPr/>
        <a:lstStyle/>
        <a:p>
          <a:endParaRPr lang="en-US" sz="1600"/>
        </a:p>
      </dgm:t>
    </dgm:pt>
    <dgm:pt modelId="{F57F6309-E636-4825-8838-8A42C9036E81}" type="sibTrans" cxnId="{CA0393BE-50D8-438B-B373-DC23EC623444}">
      <dgm:prSet/>
      <dgm:spPr/>
      <dgm:t>
        <a:bodyPr/>
        <a:lstStyle/>
        <a:p>
          <a:pPr>
            <a:lnSpc>
              <a:spcPct val="100000"/>
            </a:lnSpc>
          </a:pPr>
          <a:endParaRPr lang="en-US" sz="1600"/>
        </a:p>
      </dgm:t>
    </dgm:pt>
    <dgm:pt modelId="{A6775701-1082-4A6E-99A1-2AD505EA5748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de-DE" sz="1600" dirty="0"/>
            <a:t>10 Jahres Zyklus (2011/12; </a:t>
          </a:r>
        </a:p>
        <a:p>
          <a:pPr>
            <a:lnSpc>
              <a:spcPct val="100000"/>
            </a:lnSpc>
          </a:pPr>
          <a:r>
            <a:rPr lang="de-DE" sz="1600" dirty="0"/>
            <a:t>2022/23; …)</a:t>
          </a:r>
          <a:endParaRPr lang="en-US" sz="1600" dirty="0"/>
        </a:p>
      </dgm:t>
    </dgm:pt>
    <dgm:pt modelId="{84A7D42B-4D17-4DCA-8364-1443634C6AB2}" type="parTrans" cxnId="{D44DA144-17C7-4792-9CEE-29A229996A3B}">
      <dgm:prSet/>
      <dgm:spPr/>
      <dgm:t>
        <a:bodyPr/>
        <a:lstStyle/>
        <a:p>
          <a:endParaRPr lang="en-US" sz="1600"/>
        </a:p>
      </dgm:t>
    </dgm:pt>
    <dgm:pt modelId="{322EAE64-E571-4882-AA2F-7B919552CE77}" type="sibTrans" cxnId="{D44DA144-17C7-4792-9CEE-29A229996A3B}">
      <dgm:prSet/>
      <dgm:spPr/>
      <dgm:t>
        <a:bodyPr/>
        <a:lstStyle/>
        <a:p>
          <a:endParaRPr lang="en-US" sz="1600"/>
        </a:p>
      </dgm:t>
    </dgm:pt>
    <dgm:pt modelId="{E9E81ADC-A55B-4259-8E95-E62B525FF8F4}" type="pres">
      <dgm:prSet presAssocID="{E79CE3E8-E872-418F-A81E-F1574C68E0C9}" presName="root" presStyleCnt="0">
        <dgm:presLayoutVars>
          <dgm:dir/>
          <dgm:resizeHandles val="exact"/>
        </dgm:presLayoutVars>
      </dgm:prSet>
      <dgm:spPr/>
    </dgm:pt>
    <dgm:pt modelId="{78A152BD-7EF1-4F60-97FD-20892D705BED}" type="pres">
      <dgm:prSet presAssocID="{A774B2D8-4F71-4EE8-8B9E-9921A44770BE}" presName="compNode" presStyleCnt="0"/>
      <dgm:spPr/>
    </dgm:pt>
    <dgm:pt modelId="{F5BB0587-2633-49E9-8C27-B69A6EE12B4B}" type="pres">
      <dgm:prSet presAssocID="{A774B2D8-4F71-4EE8-8B9E-9921A44770BE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ead with Gears"/>
        </a:ext>
      </dgm:extLst>
    </dgm:pt>
    <dgm:pt modelId="{F7A20C8D-56B7-4F26-9A86-067D9FFBDE67}" type="pres">
      <dgm:prSet presAssocID="{A774B2D8-4F71-4EE8-8B9E-9921A44770BE}" presName="spaceRect" presStyleCnt="0"/>
      <dgm:spPr/>
    </dgm:pt>
    <dgm:pt modelId="{89F02055-84FA-4EDD-9EEF-11AE80C5BBFC}" type="pres">
      <dgm:prSet presAssocID="{A774B2D8-4F71-4EE8-8B9E-9921A44770BE}" presName="textRect" presStyleLbl="revTx" presStyleIdx="0" presStyleCnt="4">
        <dgm:presLayoutVars>
          <dgm:chMax val="1"/>
          <dgm:chPref val="1"/>
        </dgm:presLayoutVars>
      </dgm:prSet>
      <dgm:spPr/>
    </dgm:pt>
    <dgm:pt modelId="{69B7846C-CF58-4CEE-AA80-3CD6413F765F}" type="pres">
      <dgm:prSet presAssocID="{4A3C97EC-0F0D-4154-BA31-74F605F7CB8E}" presName="sibTrans" presStyleCnt="0"/>
      <dgm:spPr/>
    </dgm:pt>
    <dgm:pt modelId="{28A27049-7030-47BD-962D-17D5FF2D6279}" type="pres">
      <dgm:prSet presAssocID="{313345BC-2E92-4E49-8A1F-19FDE08361B5}" presName="compNode" presStyleCnt="0"/>
      <dgm:spPr/>
    </dgm:pt>
    <dgm:pt modelId="{063CAD3B-E81D-4191-8D65-A6FE9AB06940}" type="pres">
      <dgm:prSet presAssocID="{313345BC-2E92-4E49-8A1F-19FDE08361B5}" presName="iconRect" presStyleLbl="node1" presStyleIdx="1" presStyleCnt="4"/>
      <dgm:spPr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Arrow Circle"/>
        </a:ext>
      </dgm:extLst>
    </dgm:pt>
    <dgm:pt modelId="{FE924F9E-DD11-4A4C-BC9A-413CC2D5194E}" type="pres">
      <dgm:prSet presAssocID="{313345BC-2E92-4E49-8A1F-19FDE08361B5}" presName="spaceRect" presStyleCnt="0"/>
      <dgm:spPr/>
    </dgm:pt>
    <dgm:pt modelId="{9AAA7AB2-6121-42D2-A349-0D5C3FEDC790}" type="pres">
      <dgm:prSet presAssocID="{313345BC-2E92-4E49-8A1F-19FDE08361B5}" presName="textRect" presStyleLbl="revTx" presStyleIdx="1" presStyleCnt="4">
        <dgm:presLayoutVars>
          <dgm:chMax val="1"/>
          <dgm:chPref val="1"/>
        </dgm:presLayoutVars>
      </dgm:prSet>
      <dgm:spPr/>
    </dgm:pt>
    <dgm:pt modelId="{6C3CBE47-B5E6-45CA-A9E1-50FD07A75CA1}" type="pres">
      <dgm:prSet presAssocID="{3F9F5395-0B7F-4B1E-9064-14B8B8F564A6}" presName="sibTrans" presStyleCnt="0"/>
      <dgm:spPr/>
    </dgm:pt>
    <dgm:pt modelId="{071E55A9-191A-4521-AE47-0807BAD2BB91}" type="pres">
      <dgm:prSet presAssocID="{25A71D65-7993-4CF0-9D66-E592EE3BFA11}" presName="compNode" presStyleCnt="0"/>
      <dgm:spPr/>
    </dgm:pt>
    <dgm:pt modelId="{A709323E-21CC-400E-BA32-36BF76D65BFF}" type="pres">
      <dgm:prSet presAssocID="{25A71D65-7993-4CF0-9D66-E592EE3BFA11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tatistiken"/>
        </a:ext>
      </dgm:extLst>
    </dgm:pt>
    <dgm:pt modelId="{95BF5C92-29DE-4AE8-A474-32E2C3718067}" type="pres">
      <dgm:prSet presAssocID="{25A71D65-7993-4CF0-9D66-E592EE3BFA11}" presName="spaceRect" presStyleCnt="0"/>
      <dgm:spPr/>
    </dgm:pt>
    <dgm:pt modelId="{E3BCD3D5-B24B-4ABE-A0CB-01026379D968}" type="pres">
      <dgm:prSet presAssocID="{25A71D65-7993-4CF0-9D66-E592EE3BFA11}" presName="textRect" presStyleLbl="revTx" presStyleIdx="2" presStyleCnt="4">
        <dgm:presLayoutVars>
          <dgm:chMax val="1"/>
          <dgm:chPref val="1"/>
        </dgm:presLayoutVars>
      </dgm:prSet>
      <dgm:spPr/>
    </dgm:pt>
    <dgm:pt modelId="{E46B1C5D-14A0-4C86-B3B3-80FBD25BFA6F}" type="pres">
      <dgm:prSet presAssocID="{F57F6309-E636-4825-8838-8A42C9036E81}" presName="sibTrans" presStyleCnt="0"/>
      <dgm:spPr/>
    </dgm:pt>
    <dgm:pt modelId="{B5805B88-15BC-4CEE-904E-7A5A7C3EB70B}" type="pres">
      <dgm:prSet presAssocID="{A6775701-1082-4A6E-99A1-2AD505EA5748}" presName="compNode" presStyleCnt="0"/>
      <dgm:spPr/>
    </dgm:pt>
    <dgm:pt modelId="{6A6EB243-C4AA-4424-A557-16BFA041BA1F}" type="pres">
      <dgm:prSet presAssocID="{A6775701-1082-4A6E-99A1-2AD505EA5748}" presName="iconRect" presStyleLbl="node1" presStyleIdx="3" presStyleCnt="4"/>
      <dgm:spPr>
        <a:blipFill rotWithShape="1"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Earth Globe Europe-Africa"/>
        </a:ext>
      </dgm:extLst>
    </dgm:pt>
    <dgm:pt modelId="{F4A6A385-579A-41D1-9D41-8A6F2AEA8A35}" type="pres">
      <dgm:prSet presAssocID="{A6775701-1082-4A6E-99A1-2AD505EA5748}" presName="spaceRect" presStyleCnt="0"/>
      <dgm:spPr/>
    </dgm:pt>
    <dgm:pt modelId="{1BA18EF3-48DC-4C70-9B7C-5EBAD637F40C}" type="pres">
      <dgm:prSet presAssocID="{A6775701-1082-4A6E-99A1-2AD505EA5748}" presName="textRect" presStyleLbl="revTx" presStyleIdx="3" presStyleCnt="4">
        <dgm:presLayoutVars>
          <dgm:chMax val="1"/>
          <dgm:chPref val="1"/>
        </dgm:presLayoutVars>
      </dgm:prSet>
      <dgm:spPr/>
    </dgm:pt>
  </dgm:ptLst>
  <dgm:cxnLst>
    <dgm:cxn modelId="{7021BF02-5F64-4B55-9747-AAFF70C24A48}" srcId="{E79CE3E8-E872-418F-A81E-F1574C68E0C9}" destId="{313345BC-2E92-4E49-8A1F-19FDE08361B5}" srcOrd="1" destOrd="0" parTransId="{5F811807-82B3-4FE1-BE5B-89E141207CB3}" sibTransId="{3F9F5395-0B7F-4B1E-9064-14B8B8F564A6}"/>
    <dgm:cxn modelId="{5D11D020-6782-4567-980C-48606735EFA2}" type="presOf" srcId="{25A71D65-7993-4CF0-9D66-E592EE3BFA11}" destId="{E3BCD3D5-B24B-4ABE-A0CB-01026379D968}" srcOrd="0" destOrd="0" presId="urn:microsoft.com/office/officeart/2018/2/layout/IconLabelList"/>
    <dgm:cxn modelId="{9309C936-4F7B-45D5-AF4F-3B3F7FE8E88E}" type="presOf" srcId="{A6775701-1082-4A6E-99A1-2AD505EA5748}" destId="{1BA18EF3-48DC-4C70-9B7C-5EBAD637F40C}" srcOrd="0" destOrd="0" presId="urn:microsoft.com/office/officeart/2018/2/layout/IconLabelList"/>
    <dgm:cxn modelId="{D44DA144-17C7-4792-9CEE-29A229996A3B}" srcId="{E79CE3E8-E872-418F-A81E-F1574C68E0C9}" destId="{A6775701-1082-4A6E-99A1-2AD505EA5748}" srcOrd="3" destOrd="0" parTransId="{84A7D42B-4D17-4DCA-8364-1443634C6AB2}" sibTransId="{322EAE64-E571-4882-AA2F-7B919552CE77}"/>
    <dgm:cxn modelId="{D36CF665-C255-4D9A-985E-9C5BBB1D4964}" type="presOf" srcId="{313345BC-2E92-4E49-8A1F-19FDE08361B5}" destId="{9AAA7AB2-6121-42D2-A349-0D5C3FEDC790}" srcOrd="0" destOrd="0" presId="urn:microsoft.com/office/officeart/2018/2/layout/IconLabelList"/>
    <dgm:cxn modelId="{A4C02085-6FE2-469D-9B4D-2F9CFFF06BC7}" type="presOf" srcId="{A774B2D8-4F71-4EE8-8B9E-9921A44770BE}" destId="{89F02055-84FA-4EDD-9EEF-11AE80C5BBFC}" srcOrd="0" destOrd="0" presId="urn:microsoft.com/office/officeart/2018/2/layout/IconLabelList"/>
    <dgm:cxn modelId="{B5B82F93-51E4-489F-89D1-960D3AD07254}" type="presOf" srcId="{E79CE3E8-E872-418F-A81E-F1574C68E0C9}" destId="{E9E81ADC-A55B-4259-8E95-E62B525FF8F4}" srcOrd="0" destOrd="0" presId="urn:microsoft.com/office/officeart/2018/2/layout/IconLabelList"/>
    <dgm:cxn modelId="{CA0393BE-50D8-438B-B373-DC23EC623444}" srcId="{E79CE3E8-E872-418F-A81E-F1574C68E0C9}" destId="{25A71D65-7993-4CF0-9D66-E592EE3BFA11}" srcOrd="2" destOrd="0" parTransId="{64D15DA5-8B1D-4684-917C-F3AC069B3B0A}" sibTransId="{F57F6309-E636-4825-8838-8A42C9036E81}"/>
    <dgm:cxn modelId="{29BB40E7-5476-4623-96F2-0C4EBE655C3D}" srcId="{E79CE3E8-E872-418F-A81E-F1574C68E0C9}" destId="{A774B2D8-4F71-4EE8-8B9E-9921A44770BE}" srcOrd="0" destOrd="0" parTransId="{9D9936CA-7020-409A-89CE-516670875D8B}" sibTransId="{4A3C97EC-0F0D-4154-BA31-74F605F7CB8E}"/>
    <dgm:cxn modelId="{BAB9E6C5-F7DB-49A3-8711-77415759B9B7}" type="presParOf" srcId="{E9E81ADC-A55B-4259-8E95-E62B525FF8F4}" destId="{78A152BD-7EF1-4F60-97FD-20892D705BED}" srcOrd="0" destOrd="0" presId="urn:microsoft.com/office/officeart/2018/2/layout/IconLabelList"/>
    <dgm:cxn modelId="{5DD42984-A151-4325-9588-33A298747801}" type="presParOf" srcId="{78A152BD-7EF1-4F60-97FD-20892D705BED}" destId="{F5BB0587-2633-49E9-8C27-B69A6EE12B4B}" srcOrd="0" destOrd="0" presId="urn:microsoft.com/office/officeart/2018/2/layout/IconLabelList"/>
    <dgm:cxn modelId="{9A6A7CE0-1FD3-4A35-8CB6-7C22565EA639}" type="presParOf" srcId="{78A152BD-7EF1-4F60-97FD-20892D705BED}" destId="{F7A20C8D-56B7-4F26-9A86-067D9FFBDE67}" srcOrd="1" destOrd="0" presId="urn:microsoft.com/office/officeart/2018/2/layout/IconLabelList"/>
    <dgm:cxn modelId="{EA3C22B9-8F00-4727-BF93-F4596F5DE3D4}" type="presParOf" srcId="{78A152BD-7EF1-4F60-97FD-20892D705BED}" destId="{89F02055-84FA-4EDD-9EEF-11AE80C5BBFC}" srcOrd="2" destOrd="0" presId="urn:microsoft.com/office/officeart/2018/2/layout/IconLabelList"/>
    <dgm:cxn modelId="{A0D7DBED-171B-4AB9-BFE4-7D388635B4AC}" type="presParOf" srcId="{E9E81ADC-A55B-4259-8E95-E62B525FF8F4}" destId="{69B7846C-CF58-4CEE-AA80-3CD6413F765F}" srcOrd="1" destOrd="0" presId="urn:microsoft.com/office/officeart/2018/2/layout/IconLabelList"/>
    <dgm:cxn modelId="{6ACCF1CB-C47A-4855-B625-0B41D9FEB02C}" type="presParOf" srcId="{E9E81ADC-A55B-4259-8E95-E62B525FF8F4}" destId="{28A27049-7030-47BD-962D-17D5FF2D6279}" srcOrd="2" destOrd="0" presId="urn:microsoft.com/office/officeart/2018/2/layout/IconLabelList"/>
    <dgm:cxn modelId="{346FC6FC-B226-41E3-9912-831855BF5C89}" type="presParOf" srcId="{28A27049-7030-47BD-962D-17D5FF2D6279}" destId="{063CAD3B-E81D-4191-8D65-A6FE9AB06940}" srcOrd="0" destOrd="0" presId="urn:microsoft.com/office/officeart/2018/2/layout/IconLabelList"/>
    <dgm:cxn modelId="{2A5ACA17-6DA6-473F-B233-1FEB0BB97202}" type="presParOf" srcId="{28A27049-7030-47BD-962D-17D5FF2D6279}" destId="{FE924F9E-DD11-4A4C-BC9A-413CC2D5194E}" srcOrd="1" destOrd="0" presId="urn:microsoft.com/office/officeart/2018/2/layout/IconLabelList"/>
    <dgm:cxn modelId="{3FDCB467-E0B2-4A82-A6F0-1E2307C79DBB}" type="presParOf" srcId="{28A27049-7030-47BD-962D-17D5FF2D6279}" destId="{9AAA7AB2-6121-42D2-A349-0D5C3FEDC790}" srcOrd="2" destOrd="0" presId="urn:microsoft.com/office/officeart/2018/2/layout/IconLabelList"/>
    <dgm:cxn modelId="{B12978E4-BB78-425A-B1B5-48508D90CA1F}" type="presParOf" srcId="{E9E81ADC-A55B-4259-8E95-E62B525FF8F4}" destId="{6C3CBE47-B5E6-45CA-A9E1-50FD07A75CA1}" srcOrd="3" destOrd="0" presId="urn:microsoft.com/office/officeart/2018/2/layout/IconLabelList"/>
    <dgm:cxn modelId="{E994D9B1-9818-45C1-8F70-34C32057814A}" type="presParOf" srcId="{E9E81ADC-A55B-4259-8E95-E62B525FF8F4}" destId="{071E55A9-191A-4521-AE47-0807BAD2BB91}" srcOrd="4" destOrd="0" presId="urn:microsoft.com/office/officeart/2018/2/layout/IconLabelList"/>
    <dgm:cxn modelId="{5113EEA8-F941-45AE-B9CD-C91BA6C9EC27}" type="presParOf" srcId="{071E55A9-191A-4521-AE47-0807BAD2BB91}" destId="{A709323E-21CC-400E-BA32-36BF76D65BFF}" srcOrd="0" destOrd="0" presId="urn:microsoft.com/office/officeart/2018/2/layout/IconLabelList"/>
    <dgm:cxn modelId="{A1CD6FFD-170E-47AB-B258-D91E3B25EDA0}" type="presParOf" srcId="{071E55A9-191A-4521-AE47-0807BAD2BB91}" destId="{95BF5C92-29DE-4AE8-A474-32E2C3718067}" srcOrd="1" destOrd="0" presId="urn:microsoft.com/office/officeart/2018/2/layout/IconLabelList"/>
    <dgm:cxn modelId="{B966C4F7-A79D-4DEB-A693-4783CF1C1699}" type="presParOf" srcId="{071E55A9-191A-4521-AE47-0807BAD2BB91}" destId="{E3BCD3D5-B24B-4ABE-A0CB-01026379D968}" srcOrd="2" destOrd="0" presId="urn:microsoft.com/office/officeart/2018/2/layout/IconLabelList"/>
    <dgm:cxn modelId="{D7E8AC8C-9EE9-4E6F-B02E-3A7E5070F0C5}" type="presParOf" srcId="{E9E81ADC-A55B-4259-8E95-E62B525FF8F4}" destId="{E46B1C5D-14A0-4C86-B3B3-80FBD25BFA6F}" srcOrd="5" destOrd="0" presId="urn:microsoft.com/office/officeart/2018/2/layout/IconLabelList"/>
    <dgm:cxn modelId="{FBDD1870-B3F5-4CEE-A458-5362F32B2A10}" type="presParOf" srcId="{E9E81ADC-A55B-4259-8E95-E62B525FF8F4}" destId="{B5805B88-15BC-4CEE-904E-7A5A7C3EB70B}" srcOrd="6" destOrd="0" presId="urn:microsoft.com/office/officeart/2018/2/layout/IconLabelList"/>
    <dgm:cxn modelId="{40905FFF-B0D2-4B87-8FE8-B04E7CD3F83D}" type="presParOf" srcId="{B5805B88-15BC-4CEE-904E-7A5A7C3EB70B}" destId="{6A6EB243-C4AA-4424-A557-16BFA041BA1F}" srcOrd="0" destOrd="0" presId="urn:microsoft.com/office/officeart/2018/2/layout/IconLabelList"/>
    <dgm:cxn modelId="{484BDF4A-AF51-4BFD-AC8C-0FC686145825}" type="presParOf" srcId="{B5805B88-15BC-4CEE-904E-7A5A7C3EB70B}" destId="{F4A6A385-579A-41D1-9D41-8A6F2AEA8A35}" srcOrd="1" destOrd="0" presId="urn:microsoft.com/office/officeart/2018/2/layout/IconLabelList"/>
    <dgm:cxn modelId="{4B6EEBB0-14E8-4ACF-80E6-63A245AD0C18}" type="presParOf" srcId="{B5805B88-15BC-4CEE-904E-7A5A7C3EB70B}" destId="{1BA18EF3-48DC-4C70-9B7C-5EBAD637F40C}" srcOrd="2" destOrd="0" presId="urn:microsoft.com/office/officeart/2018/2/layout/IconLabelList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8D578D4-64C5-4685-9B10-2041E6513D08}" type="doc">
      <dgm:prSet loTypeId="urn:microsoft.com/office/officeart/2005/8/layout/hierarchy1" loCatId="hierarchy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16B016DF-06C0-4010-A277-6B8C973CE817}">
      <dgm:prSet custT="1"/>
      <dgm:spPr/>
      <dgm:t>
        <a:bodyPr/>
        <a:lstStyle/>
        <a:p>
          <a:pPr>
            <a:defRPr cap="all"/>
          </a:pPr>
          <a:r>
            <a:rPr lang="en-US" sz="2800" i="0" cap="none" baseline="0" dirty="0" err="1"/>
            <a:t>Weitere</a:t>
          </a:r>
          <a:r>
            <a:rPr lang="en-US" sz="2800" i="0" cap="none" baseline="0" dirty="0"/>
            <a:t> </a:t>
          </a:r>
          <a:r>
            <a:rPr lang="en-US" sz="2800" i="0" cap="none" baseline="0" dirty="0" err="1"/>
            <a:t>Datenbestände</a:t>
          </a:r>
          <a:r>
            <a:rPr lang="en-US" sz="2800" i="0" cap="none" baseline="0" dirty="0"/>
            <a:t>: </a:t>
          </a:r>
          <a:r>
            <a:rPr lang="en-US" sz="2800" i="0" cap="none" baseline="0" dirty="0" err="1"/>
            <a:t>z.B.</a:t>
          </a:r>
          <a:r>
            <a:rPr lang="en-US" sz="2800" i="0" cap="none" baseline="0" dirty="0"/>
            <a:t> PIAAC-Longitudinal (2014, 2015, 2016)</a:t>
          </a:r>
          <a:endParaRPr lang="en-US" sz="2800" u="none" cap="none" baseline="0" dirty="0"/>
        </a:p>
      </dgm:t>
    </dgm:pt>
    <dgm:pt modelId="{2EA3681E-16D4-45EE-8AE8-B66A0E3CEE03}" type="parTrans" cxnId="{5C8087E7-86FA-402B-81AA-7FC2430BDFF7}">
      <dgm:prSet/>
      <dgm:spPr/>
      <dgm:t>
        <a:bodyPr/>
        <a:lstStyle/>
        <a:p>
          <a:endParaRPr lang="en-US"/>
        </a:p>
      </dgm:t>
    </dgm:pt>
    <dgm:pt modelId="{A4E465B0-1D2D-45A2-A116-4A223319295F}" type="sibTrans" cxnId="{5C8087E7-86FA-402B-81AA-7FC2430BDFF7}">
      <dgm:prSet/>
      <dgm:spPr/>
      <dgm:t>
        <a:bodyPr/>
        <a:lstStyle/>
        <a:p>
          <a:endParaRPr lang="en-US"/>
        </a:p>
      </dgm:t>
    </dgm:pt>
    <dgm:pt modelId="{B1EB1D90-8916-4B01-AF74-659A4D81D306}">
      <dgm:prSet custT="1"/>
      <dgm:spPr/>
      <dgm:t>
        <a:bodyPr/>
        <a:lstStyle/>
        <a:p>
          <a:pPr>
            <a:defRPr cap="all"/>
          </a:pPr>
          <a:r>
            <a:rPr lang="en-US" sz="2800" i="0" cap="none" baseline="0" dirty="0"/>
            <a:t>International PIAAC Research Conference 2025 </a:t>
          </a:r>
          <a:endParaRPr lang="en-US" sz="2800" cap="none" baseline="0" dirty="0"/>
        </a:p>
      </dgm:t>
    </dgm:pt>
    <dgm:pt modelId="{2BE12B1F-67C5-44D4-A87A-A7665EC88E85}" type="parTrans" cxnId="{B0D89E44-529E-413E-89DE-9BB5F15820C0}">
      <dgm:prSet/>
      <dgm:spPr/>
      <dgm:t>
        <a:bodyPr/>
        <a:lstStyle/>
        <a:p>
          <a:endParaRPr lang="en-US"/>
        </a:p>
      </dgm:t>
    </dgm:pt>
    <dgm:pt modelId="{47E3F336-ACCA-49CB-8F25-86183AF6DB1D}" type="sibTrans" cxnId="{B0D89E44-529E-413E-89DE-9BB5F15820C0}">
      <dgm:prSet/>
      <dgm:spPr/>
      <dgm:t>
        <a:bodyPr/>
        <a:lstStyle/>
        <a:p>
          <a:endParaRPr lang="en-US"/>
        </a:p>
      </dgm:t>
    </dgm:pt>
    <dgm:pt modelId="{B530FD08-6D38-4C5E-9F5A-3436E95D144B}" type="pres">
      <dgm:prSet presAssocID="{08D578D4-64C5-4685-9B10-2041E6513D08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67ECE2E3-F198-4AC0-BA10-EDB49292DDF8}" type="pres">
      <dgm:prSet presAssocID="{16B016DF-06C0-4010-A277-6B8C973CE817}" presName="hierRoot1" presStyleCnt="0"/>
      <dgm:spPr/>
    </dgm:pt>
    <dgm:pt modelId="{2452FC2A-8365-4BB0-B6FD-DAA6B4423CEB}" type="pres">
      <dgm:prSet presAssocID="{16B016DF-06C0-4010-A277-6B8C973CE817}" presName="composite" presStyleCnt="0"/>
      <dgm:spPr/>
    </dgm:pt>
    <dgm:pt modelId="{621ADC6E-F076-4F84-8413-BD646B93D70E}" type="pres">
      <dgm:prSet presAssocID="{16B016DF-06C0-4010-A277-6B8C973CE817}" presName="background" presStyleLbl="node0" presStyleIdx="0" presStyleCnt="2"/>
      <dgm:spPr/>
    </dgm:pt>
    <dgm:pt modelId="{1F6B4B74-8315-47AF-A126-DD0E61287D9D}" type="pres">
      <dgm:prSet presAssocID="{16B016DF-06C0-4010-A277-6B8C973CE817}" presName="text" presStyleLbl="fgAcc0" presStyleIdx="0" presStyleCnt="2">
        <dgm:presLayoutVars>
          <dgm:chPref val="3"/>
        </dgm:presLayoutVars>
      </dgm:prSet>
      <dgm:spPr/>
    </dgm:pt>
    <dgm:pt modelId="{96CC347A-01CC-48D3-9B1E-C0AE0A65CEBF}" type="pres">
      <dgm:prSet presAssocID="{16B016DF-06C0-4010-A277-6B8C973CE817}" presName="hierChild2" presStyleCnt="0"/>
      <dgm:spPr/>
    </dgm:pt>
    <dgm:pt modelId="{3C88AC32-E294-4E17-AFBD-F0AD08EA1EA9}" type="pres">
      <dgm:prSet presAssocID="{B1EB1D90-8916-4B01-AF74-659A4D81D306}" presName="hierRoot1" presStyleCnt="0"/>
      <dgm:spPr/>
    </dgm:pt>
    <dgm:pt modelId="{161DAFE7-6531-4A2F-B94B-1250D28A09B3}" type="pres">
      <dgm:prSet presAssocID="{B1EB1D90-8916-4B01-AF74-659A4D81D306}" presName="composite" presStyleCnt="0"/>
      <dgm:spPr/>
    </dgm:pt>
    <dgm:pt modelId="{8C2D73C5-E326-46D6-91C0-253A4A209F38}" type="pres">
      <dgm:prSet presAssocID="{B1EB1D90-8916-4B01-AF74-659A4D81D306}" presName="background" presStyleLbl="node0" presStyleIdx="1" presStyleCnt="2"/>
      <dgm:spPr/>
    </dgm:pt>
    <dgm:pt modelId="{AC90D48C-2B4F-4A8B-BB12-EAA443663A14}" type="pres">
      <dgm:prSet presAssocID="{B1EB1D90-8916-4B01-AF74-659A4D81D306}" presName="text" presStyleLbl="fgAcc0" presStyleIdx="1" presStyleCnt="2">
        <dgm:presLayoutVars>
          <dgm:chPref val="3"/>
        </dgm:presLayoutVars>
      </dgm:prSet>
      <dgm:spPr/>
    </dgm:pt>
    <dgm:pt modelId="{6B2B7549-8638-4B90-97A6-5917A5D671E4}" type="pres">
      <dgm:prSet presAssocID="{B1EB1D90-8916-4B01-AF74-659A4D81D306}" presName="hierChild2" presStyleCnt="0"/>
      <dgm:spPr/>
    </dgm:pt>
  </dgm:ptLst>
  <dgm:cxnLst>
    <dgm:cxn modelId="{B0D89E44-529E-413E-89DE-9BB5F15820C0}" srcId="{08D578D4-64C5-4685-9B10-2041E6513D08}" destId="{B1EB1D90-8916-4B01-AF74-659A4D81D306}" srcOrd="1" destOrd="0" parTransId="{2BE12B1F-67C5-44D4-A87A-A7665EC88E85}" sibTransId="{47E3F336-ACCA-49CB-8F25-86183AF6DB1D}"/>
    <dgm:cxn modelId="{47DEE175-90FB-4110-BBAC-5A16E8F0414E}" type="presOf" srcId="{B1EB1D90-8916-4B01-AF74-659A4D81D306}" destId="{AC90D48C-2B4F-4A8B-BB12-EAA443663A14}" srcOrd="0" destOrd="0" presId="urn:microsoft.com/office/officeart/2005/8/layout/hierarchy1"/>
    <dgm:cxn modelId="{757C4AAB-9FBD-4AA8-9EFB-89DA012D6989}" type="presOf" srcId="{08D578D4-64C5-4685-9B10-2041E6513D08}" destId="{B530FD08-6D38-4C5E-9F5A-3436E95D144B}" srcOrd="0" destOrd="0" presId="urn:microsoft.com/office/officeart/2005/8/layout/hierarchy1"/>
    <dgm:cxn modelId="{3E81D8DA-E391-4774-8359-FD937B5B77BA}" type="presOf" srcId="{16B016DF-06C0-4010-A277-6B8C973CE817}" destId="{1F6B4B74-8315-47AF-A126-DD0E61287D9D}" srcOrd="0" destOrd="0" presId="urn:microsoft.com/office/officeart/2005/8/layout/hierarchy1"/>
    <dgm:cxn modelId="{5C8087E7-86FA-402B-81AA-7FC2430BDFF7}" srcId="{08D578D4-64C5-4685-9B10-2041E6513D08}" destId="{16B016DF-06C0-4010-A277-6B8C973CE817}" srcOrd="0" destOrd="0" parTransId="{2EA3681E-16D4-45EE-8AE8-B66A0E3CEE03}" sibTransId="{A4E465B0-1D2D-45A2-A116-4A223319295F}"/>
    <dgm:cxn modelId="{77EE200D-F0AA-487B-8413-0206B26C5FC2}" type="presParOf" srcId="{B530FD08-6D38-4C5E-9F5A-3436E95D144B}" destId="{67ECE2E3-F198-4AC0-BA10-EDB49292DDF8}" srcOrd="0" destOrd="0" presId="urn:microsoft.com/office/officeart/2005/8/layout/hierarchy1"/>
    <dgm:cxn modelId="{A4881713-CCFE-4237-BEBE-56DC3B49B87D}" type="presParOf" srcId="{67ECE2E3-F198-4AC0-BA10-EDB49292DDF8}" destId="{2452FC2A-8365-4BB0-B6FD-DAA6B4423CEB}" srcOrd="0" destOrd="0" presId="urn:microsoft.com/office/officeart/2005/8/layout/hierarchy1"/>
    <dgm:cxn modelId="{9F38ED86-D0A8-474C-B326-D0B58866CCCC}" type="presParOf" srcId="{2452FC2A-8365-4BB0-B6FD-DAA6B4423CEB}" destId="{621ADC6E-F076-4F84-8413-BD646B93D70E}" srcOrd="0" destOrd="0" presId="urn:microsoft.com/office/officeart/2005/8/layout/hierarchy1"/>
    <dgm:cxn modelId="{EE8A7141-F7C4-4A56-9A70-F9B2C772E1C1}" type="presParOf" srcId="{2452FC2A-8365-4BB0-B6FD-DAA6B4423CEB}" destId="{1F6B4B74-8315-47AF-A126-DD0E61287D9D}" srcOrd="1" destOrd="0" presId="urn:microsoft.com/office/officeart/2005/8/layout/hierarchy1"/>
    <dgm:cxn modelId="{996C8AA5-054F-4DB8-A4FD-DF42E123A7D7}" type="presParOf" srcId="{67ECE2E3-F198-4AC0-BA10-EDB49292DDF8}" destId="{96CC347A-01CC-48D3-9B1E-C0AE0A65CEBF}" srcOrd="1" destOrd="0" presId="urn:microsoft.com/office/officeart/2005/8/layout/hierarchy1"/>
    <dgm:cxn modelId="{61188677-416C-4696-AD40-FDB7C33FC079}" type="presParOf" srcId="{B530FD08-6D38-4C5E-9F5A-3436E95D144B}" destId="{3C88AC32-E294-4E17-AFBD-F0AD08EA1EA9}" srcOrd="1" destOrd="0" presId="urn:microsoft.com/office/officeart/2005/8/layout/hierarchy1"/>
    <dgm:cxn modelId="{247589A9-C713-4CE1-B24A-03E67156CAEA}" type="presParOf" srcId="{3C88AC32-E294-4E17-AFBD-F0AD08EA1EA9}" destId="{161DAFE7-6531-4A2F-B94B-1250D28A09B3}" srcOrd="0" destOrd="0" presId="urn:microsoft.com/office/officeart/2005/8/layout/hierarchy1"/>
    <dgm:cxn modelId="{672BFA47-1F18-44E8-B020-061106090485}" type="presParOf" srcId="{161DAFE7-6531-4A2F-B94B-1250D28A09B3}" destId="{8C2D73C5-E326-46D6-91C0-253A4A209F38}" srcOrd="0" destOrd="0" presId="urn:microsoft.com/office/officeart/2005/8/layout/hierarchy1"/>
    <dgm:cxn modelId="{25A9EE8F-68F3-4CA0-BB50-D50A5DCD35CB}" type="presParOf" srcId="{161DAFE7-6531-4A2F-B94B-1250D28A09B3}" destId="{AC90D48C-2B4F-4A8B-BB12-EAA443663A14}" srcOrd="1" destOrd="0" presId="urn:microsoft.com/office/officeart/2005/8/layout/hierarchy1"/>
    <dgm:cxn modelId="{AFF4FBC1-1372-40BF-BA76-AC0F255E3071}" type="presParOf" srcId="{3C88AC32-E294-4E17-AFBD-F0AD08EA1EA9}" destId="{6B2B7549-8638-4B90-97A6-5917A5D671E4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B8C04BE-09C1-4DD8-ABC5-4CD8FE624EC5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3E33B7CE-3CF6-49D9-A9D6-7C21F64ED705}">
      <dgm:prSet/>
      <dgm:spPr/>
      <dgm:t>
        <a:bodyPr/>
        <a:lstStyle/>
        <a:p>
          <a:r>
            <a:rPr lang="en-US"/>
            <a:t>A	Allgemeine Informationen</a:t>
          </a:r>
        </a:p>
      </dgm:t>
    </dgm:pt>
    <dgm:pt modelId="{47BB47C5-9465-4101-A1E5-7FE21EFF127B}" type="parTrans" cxnId="{FEC3B907-B3AC-4948-938B-B2AD95DE5F2E}">
      <dgm:prSet/>
      <dgm:spPr/>
      <dgm:t>
        <a:bodyPr/>
        <a:lstStyle/>
        <a:p>
          <a:endParaRPr lang="en-US"/>
        </a:p>
      </dgm:t>
    </dgm:pt>
    <dgm:pt modelId="{3472F7F1-568C-4B90-9969-58B22E560E0E}" type="sibTrans" cxnId="{FEC3B907-B3AC-4948-938B-B2AD95DE5F2E}">
      <dgm:prSet/>
      <dgm:spPr/>
      <dgm:t>
        <a:bodyPr/>
        <a:lstStyle/>
        <a:p>
          <a:endParaRPr lang="en-US"/>
        </a:p>
      </dgm:t>
    </dgm:pt>
    <dgm:pt modelId="{B6AA2009-D4B9-429B-A542-889F409B5932}">
      <dgm:prSet/>
      <dgm:spPr/>
      <dgm:t>
        <a:bodyPr/>
        <a:lstStyle/>
        <a:p>
          <a:r>
            <a:rPr lang="en-US"/>
            <a:t>B	Bildung</a:t>
          </a:r>
        </a:p>
      </dgm:t>
    </dgm:pt>
    <dgm:pt modelId="{B63C83C9-7DB3-40B5-9F98-F0FA907E54BA}" type="parTrans" cxnId="{BA87B483-EE4B-4F7C-84BA-74D453606265}">
      <dgm:prSet/>
      <dgm:spPr/>
      <dgm:t>
        <a:bodyPr/>
        <a:lstStyle/>
        <a:p>
          <a:endParaRPr lang="en-US"/>
        </a:p>
      </dgm:t>
    </dgm:pt>
    <dgm:pt modelId="{532105C9-E831-49D1-BCB2-B1188658CC92}" type="sibTrans" cxnId="{BA87B483-EE4B-4F7C-84BA-74D453606265}">
      <dgm:prSet/>
      <dgm:spPr/>
      <dgm:t>
        <a:bodyPr/>
        <a:lstStyle/>
        <a:p>
          <a:endParaRPr lang="en-US"/>
        </a:p>
      </dgm:t>
    </dgm:pt>
    <dgm:pt modelId="{FFC37A15-7113-40DE-AFC6-02EE0B05D6FB}">
      <dgm:prSet/>
      <dgm:spPr/>
      <dgm:t>
        <a:bodyPr/>
        <a:lstStyle/>
        <a:p>
          <a:r>
            <a:rPr lang="en-US"/>
            <a:t>C	Erwerbsstatus und Werdegang</a:t>
          </a:r>
        </a:p>
      </dgm:t>
    </dgm:pt>
    <dgm:pt modelId="{AE3553C1-23B9-4D73-9174-25EA259A5A33}" type="parTrans" cxnId="{675DE833-C56D-4193-B0FF-E24993D97B43}">
      <dgm:prSet/>
      <dgm:spPr/>
      <dgm:t>
        <a:bodyPr/>
        <a:lstStyle/>
        <a:p>
          <a:endParaRPr lang="en-US"/>
        </a:p>
      </dgm:t>
    </dgm:pt>
    <dgm:pt modelId="{33C62D91-A131-4CA8-824A-D8BB12E05586}" type="sibTrans" cxnId="{675DE833-C56D-4193-B0FF-E24993D97B43}">
      <dgm:prSet/>
      <dgm:spPr/>
      <dgm:t>
        <a:bodyPr/>
        <a:lstStyle/>
        <a:p>
          <a:endParaRPr lang="en-US"/>
        </a:p>
      </dgm:t>
    </dgm:pt>
    <dgm:pt modelId="{A4FC8BAF-1D61-4811-88F4-FF2DB173E5FF}">
      <dgm:prSet/>
      <dgm:spPr/>
      <dgm:t>
        <a:bodyPr/>
        <a:lstStyle/>
        <a:p>
          <a:r>
            <a:rPr lang="en-US"/>
            <a:t>D	Derzeitige Erwerbstätigkeit</a:t>
          </a:r>
        </a:p>
      </dgm:t>
    </dgm:pt>
    <dgm:pt modelId="{9E026950-A9A2-4496-A4FC-A216032E35A5}" type="parTrans" cxnId="{0FE97107-BCA2-4AFE-8B3F-AFA6BB00DB72}">
      <dgm:prSet/>
      <dgm:spPr/>
      <dgm:t>
        <a:bodyPr/>
        <a:lstStyle/>
        <a:p>
          <a:endParaRPr lang="en-US"/>
        </a:p>
      </dgm:t>
    </dgm:pt>
    <dgm:pt modelId="{0BAA271F-2EA7-42F6-B78B-F80D3C51AB23}" type="sibTrans" cxnId="{0FE97107-BCA2-4AFE-8B3F-AFA6BB00DB72}">
      <dgm:prSet/>
      <dgm:spPr/>
      <dgm:t>
        <a:bodyPr/>
        <a:lstStyle/>
        <a:p>
          <a:endParaRPr lang="en-US"/>
        </a:p>
      </dgm:t>
    </dgm:pt>
    <dgm:pt modelId="{8472D875-E887-40C3-92B2-408874A89DC8}">
      <dgm:prSet/>
      <dgm:spPr/>
      <dgm:t>
        <a:bodyPr/>
        <a:lstStyle/>
        <a:p>
          <a:r>
            <a:rPr lang="en-US"/>
            <a:t>E	Letzte Erwerbstätigkeit</a:t>
          </a:r>
        </a:p>
      </dgm:t>
    </dgm:pt>
    <dgm:pt modelId="{E9744B15-0386-47C8-A3AB-E08DF579B100}" type="parTrans" cxnId="{E9D0156F-9C4B-4C26-BE43-8AB80B7328F1}">
      <dgm:prSet/>
      <dgm:spPr/>
      <dgm:t>
        <a:bodyPr/>
        <a:lstStyle/>
        <a:p>
          <a:endParaRPr lang="en-US"/>
        </a:p>
      </dgm:t>
    </dgm:pt>
    <dgm:pt modelId="{B3CAE26F-2AFE-42DB-8BA7-06C65423FFFF}" type="sibTrans" cxnId="{E9D0156F-9C4B-4C26-BE43-8AB80B7328F1}">
      <dgm:prSet/>
      <dgm:spPr/>
      <dgm:t>
        <a:bodyPr/>
        <a:lstStyle/>
        <a:p>
          <a:endParaRPr lang="en-US"/>
        </a:p>
      </dgm:t>
    </dgm:pt>
    <dgm:pt modelId="{46E5B574-9153-4060-968E-C039228CDD08}">
      <dgm:prSet/>
      <dgm:spPr/>
      <dgm:t>
        <a:bodyPr/>
        <a:lstStyle/>
        <a:p>
          <a:r>
            <a:rPr lang="en-US"/>
            <a:t>F	Bei der Arbeit eingesetzte Fertigkeiten</a:t>
          </a:r>
        </a:p>
      </dgm:t>
    </dgm:pt>
    <dgm:pt modelId="{8715E3F6-0D0B-4EE1-ADB8-C8F62A1E5C6D}" type="parTrans" cxnId="{A97EEB9A-4BDA-44A9-99E8-EE3E37A2A7DB}">
      <dgm:prSet/>
      <dgm:spPr/>
      <dgm:t>
        <a:bodyPr/>
        <a:lstStyle/>
        <a:p>
          <a:endParaRPr lang="en-US"/>
        </a:p>
      </dgm:t>
    </dgm:pt>
    <dgm:pt modelId="{571CC1D1-12D1-4B0C-BCA1-2D2A47466AD2}" type="sibTrans" cxnId="{A97EEB9A-4BDA-44A9-99E8-EE3E37A2A7DB}">
      <dgm:prSet/>
      <dgm:spPr/>
      <dgm:t>
        <a:bodyPr/>
        <a:lstStyle/>
        <a:p>
          <a:endParaRPr lang="en-US"/>
        </a:p>
      </dgm:t>
    </dgm:pt>
    <dgm:pt modelId="{3DDA049B-90E3-4DD7-9F25-C51FA07C53F4}">
      <dgm:prSet/>
      <dgm:spPr/>
      <dgm:t>
        <a:bodyPr/>
        <a:lstStyle/>
        <a:p>
          <a:r>
            <a:rPr lang="en-US"/>
            <a:t>G	Lesen, Schreiben etc. während der Arbeit</a:t>
          </a:r>
        </a:p>
      </dgm:t>
    </dgm:pt>
    <dgm:pt modelId="{9644FD92-0245-49B0-8B22-387C30EC0B9B}" type="parTrans" cxnId="{643A5EAE-36C5-4A46-8748-9BAF3814F159}">
      <dgm:prSet/>
      <dgm:spPr/>
      <dgm:t>
        <a:bodyPr/>
        <a:lstStyle/>
        <a:p>
          <a:endParaRPr lang="en-US"/>
        </a:p>
      </dgm:t>
    </dgm:pt>
    <dgm:pt modelId="{5F523E51-2C9D-49C3-8DEB-278583C3C973}" type="sibTrans" cxnId="{643A5EAE-36C5-4A46-8748-9BAF3814F159}">
      <dgm:prSet/>
      <dgm:spPr/>
      <dgm:t>
        <a:bodyPr/>
        <a:lstStyle/>
        <a:p>
          <a:endParaRPr lang="en-US"/>
        </a:p>
      </dgm:t>
    </dgm:pt>
    <dgm:pt modelId="{F18A5305-C909-480A-9186-6C3145C89815}">
      <dgm:prSet/>
      <dgm:spPr/>
      <dgm:t>
        <a:bodyPr/>
        <a:lstStyle/>
        <a:p>
          <a:r>
            <a:rPr lang="en-US"/>
            <a:t>H	Lesen, Schreiben etc. im Alltag</a:t>
          </a:r>
        </a:p>
      </dgm:t>
    </dgm:pt>
    <dgm:pt modelId="{425F2EEE-60CD-4EBB-A7C9-C4E4D7C061C6}" type="parTrans" cxnId="{F5C59420-037B-4DF6-8A2E-70D56E0DC021}">
      <dgm:prSet/>
      <dgm:spPr/>
      <dgm:t>
        <a:bodyPr/>
        <a:lstStyle/>
        <a:p>
          <a:endParaRPr lang="en-US"/>
        </a:p>
      </dgm:t>
    </dgm:pt>
    <dgm:pt modelId="{248EFF42-220C-488C-9B30-6C73E8E5BF79}" type="sibTrans" cxnId="{F5C59420-037B-4DF6-8A2E-70D56E0DC021}">
      <dgm:prSet/>
      <dgm:spPr/>
      <dgm:t>
        <a:bodyPr/>
        <a:lstStyle/>
        <a:p>
          <a:endParaRPr lang="en-US"/>
        </a:p>
      </dgm:t>
    </dgm:pt>
    <dgm:pt modelId="{CF170610-0CAB-4497-A9E0-C9B7D0FC332C}">
      <dgm:prSet/>
      <dgm:spPr/>
      <dgm:t>
        <a:bodyPr/>
        <a:lstStyle/>
        <a:p>
          <a:r>
            <a:rPr lang="en-US"/>
            <a:t>I	Einstellung, Selbsteinschätzung</a:t>
          </a:r>
        </a:p>
      </dgm:t>
    </dgm:pt>
    <dgm:pt modelId="{0A6F221C-553C-4B32-9DE8-97A0A9C046BF}" type="parTrans" cxnId="{2248F8C8-F816-4442-850A-037116C15622}">
      <dgm:prSet/>
      <dgm:spPr/>
      <dgm:t>
        <a:bodyPr/>
        <a:lstStyle/>
        <a:p>
          <a:endParaRPr lang="en-US"/>
        </a:p>
      </dgm:t>
    </dgm:pt>
    <dgm:pt modelId="{0DA92228-615E-46D8-A42E-E2E976A3C756}" type="sibTrans" cxnId="{2248F8C8-F816-4442-850A-037116C15622}">
      <dgm:prSet/>
      <dgm:spPr/>
      <dgm:t>
        <a:bodyPr/>
        <a:lstStyle/>
        <a:p>
          <a:endParaRPr lang="en-US"/>
        </a:p>
      </dgm:t>
    </dgm:pt>
    <dgm:pt modelId="{614115BD-D7C3-4866-9ABC-F741AF6851A1}">
      <dgm:prSet/>
      <dgm:spPr/>
      <dgm:t>
        <a:bodyPr/>
        <a:lstStyle/>
        <a:p>
          <a:r>
            <a:rPr lang="en-US"/>
            <a:t>J	Hintergrundinformationen</a:t>
          </a:r>
        </a:p>
      </dgm:t>
    </dgm:pt>
    <dgm:pt modelId="{AB1163A4-6342-479C-9EB5-8E5400FB6C20}" type="parTrans" cxnId="{A23864D6-C24E-44D2-9B7D-F07BB18591D5}">
      <dgm:prSet/>
      <dgm:spPr/>
      <dgm:t>
        <a:bodyPr/>
        <a:lstStyle/>
        <a:p>
          <a:endParaRPr lang="en-US"/>
        </a:p>
      </dgm:t>
    </dgm:pt>
    <dgm:pt modelId="{293D2888-397D-42FE-A4A6-D49516114B41}" type="sibTrans" cxnId="{A23864D6-C24E-44D2-9B7D-F07BB18591D5}">
      <dgm:prSet/>
      <dgm:spPr/>
      <dgm:t>
        <a:bodyPr/>
        <a:lstStyle/>
        <a:p>
          <a:endParaRPr lang="en-US"/>
        </a:p>
      </dgm:t>
    </dgm:pt>
    <dgm:pt modelId="{E6CF1B6A-3553-4F32-BC2A-532B9136D098}" type="pres">
      <dgm:prSet presAssocID="{6B8C04BE-09C1-4DD8-ABC5-4CD8FE624EC5}" presName="vert0" presStyleCnt="0">
        <dgm:presLayoutVars>
          <dgm:dir/>
          <dgm:animOne val="branch"/>
          <dgm:animLvl val="lvl"/>
        </dgm:presLayoutVars>
      </dgm:prSet>
      <dgm:spPr/>
    </dgm:pt>
    <dgm:pt modelId="{CCF8D0DE-E11F-4430-B24F-069F56B8C678}" type="pres">
      <dgm:prSet presAssocID="{3E33B7CE-3CF6-49D9-A9D6-7C21F64ED705}" presName="thickLine" presStyleLbl="alignNode1" presStyleIdx="0" presStyleCnt="10"/>
      <dgm:spPr/>
    </dgm:pt>
    <dgm:pt modelId="{4153DB1E-C480-4C2E-B817-C6123858845D}" type="pres">
      <dgm:prSet presAssocID="{3E33B7CE-3CF6-49D9-A9D6-7C21F64ED705}" presName="horz1" presStyleCnt="0"/>
      <dgm:spPr/>
    </dgm:pt>
    <dgm:pt modelId="{86ACAA13-1303-4B09-BF9A-1807F7C5CCB9}" type="pres">
      <dgm:prSet presAssocID="{3E33B7CE-3CF6-49D9-A9D6-7C21F64ED705}" presName="tx1" presStyleLbl="revTx" presStyleIdx="0" presStyleCnt="10"/>
      <dgm:spPr/>
    </dgm:pt>
    <dgm:pt modelId="{3FFBBFD9-568A-4FCA-8F07-C90079696CF8}" type="pres">
      <dgm:prSet presAssocID="{3E33B7CE-3CF6-49D9-A9D6-7C21F64ED705}" presName="vert1" presStyleCnt="0"/>
      <dgm:spPr/>
    </dgm:pt>
    <dgm:pt modelId="{3919A376-E7DC-4766-BE97-742B9D366045}" type="pres">
      <dgm:prSet presAssocID="{B6AA2009-D4B9-429B-A542-889F409B5932}" presName="thickLine" presStyleLbl="alignNode1" presStyleIdx="1" presStyleCnt="10"/>
      <dgm:spPr/>
    </dgm:pt>
    <dgm:pt modelId="{7969E9A1-E2F3-4AD3-81F7-7E70A9C25C3A}" type="pres">
      <dgm:prSet presAssocID="{B6AA2009-D4B9-429B-A542-889F409B5932}" presName="horz1" presStyleCnt="0"/>
      <dgm:spPr/>
    </dgm:pt>
    <dgm:pt modelId="{71648648-47C5-4EFE-B951-6CCE4749B4C3}" type="pres">
      <dgm:prSet presAssocID="{B6AA2009-D4B9-429B-A542-889F409B5932}" presName="tx1" presStyleLbl="revTx" presStyleIdx="1" presStyleCnt="10"/>
      <dgm:spPr/>
    </dgm:pt>
    <dgm:pt modelId="{5CBE56A8-9662-41D5-9F04-4ABA696782F3}" type="pres">
      <dgm:prSet presAssocID="{B6AA2009-D4B9-429B-A542-889F409B5932}" presName="vert1" presStyleCnt="0"/>
      <dgm:spPr/>
    </dgm:pt>
    <dgm:pt modelId="{48258E85-27E5-4CCC-9800-6C6D7F6A73AF}" type="pres">
      <dgm:prSet presAssocID="{FFC37A15-7113-40DE-AFC6-02EE0B05D6FB}" presName="thickLine" presStyleLbl="alignNode1" presStyleIdx="2" presStyleCnt="10"/>
      <dgm:spPr/>
    </dgm:pt>
    <dgm:pt modelId="{7C3861C2-3DC4-4523-8FC0-D6764EDA2049}" type="pres">
      <dgm:prSet presAssocID="{FFC37A15-7113-40DE-AFC6-02EE0B05D6FB}" presName="horz1" presStyleCnt="0"/>
      <dgm:spPr/>
    </dgm:pt>
    <dgm:pt modelId="{AF75F132-0382-4BB8-A212-3B417F51B946}" type="pres">
      <dgm:prSet presAssocID="{FFC37A15-7113-40DE-AFC6-02EE0B05D6FB}" presName="tx1" presStyleLbl="revTx" presStyleIdx="2" presStyleCnt="10"/>
      <dgm:spPr/>
    </dgm:pt>
    <dgm:pt modelId="{A53CFE44-6A8B-4A73-8C77-DF299FD8F3BD}" type="pres">
      <dgm:prSet presAssocID="{FFC37A15-7113-40DE-AFC6-02EE0B05D6FB}" presName="vert1" presStyleCnt="0"/>
      <dgm:spPr/>
    </dgm:pt>
    <dgm:pt modelId="{107418CE-F425-4DE2-971B-7C9E18C44148}" type="pres">
      <dgm:prSet presAssocID="{A4FC8BAF-1D61-4811-88F4-FF2DB173E5FF}" presName="thickLine" presStyleLbl="alignNode1" presStyleIdx="3" presStyleCnt="10"/>
      <dgm:spPr/>
    </dgm:pt>
    <dgm:pt modelId="{C2A08629-7D49-4885-9FF7-19FF99928F29}" type="pres">
      <dgm:prSet presAssocID="{A4FC8BAF-1D61-4811-88F4-FF2DB173E5FF}" presName="horz1" presStyleCnt="0"/>
      <dgm:spPr/>
    </dgm:pt>
    <dgm:pt modelId="{E6955864-A47D-4AD5-9484-C552C089D0E8}" type="pres">
      <dgm:prSet presAssocID="{A4FC8BAF-1D61-4811-88F4-FF2DB173E5FF}" presName="tx1" presStyleLbl="revTx" presStyleIdx="3" presStyleCnt="10"/>
      <dgm:spPr/>
    </dgm:pt>
    <dgm:pt modelId="{82A8EA3F-D1D5-4FB7-86B2-8117B20CE50E}" type="pres">
      <dgm:prSet presAssocID="{A4FC8BAF-1D61-4811-88F4-FF2DB173E5FF}" presName="vert1" presStyleCnt="0"/>
      <dgm:spPr/>
    </dgm:pt>
    <dgm:pt modelId="{85028B2B-778A-49D4-A767-DC5F165BC690}" type="pres">
      <dgm:prSet presAssocID="{8472D875-E887-40C3-92B2-408874A89DC8}" presName="thickLine" presStyleLbl="alignNode1" presStyleIdx="4" presStyleCnt="10"/>
      <dgm:spPr/>
    </dgm:pt>
    <dgm:pt modelId="{8083A5CF-A3D1-4779-BC06-DD0C680CF7BB}" type="pres">
      <dgm:prSet presAssocID="{8472D875-E887-40C3-92B2-408874A89DC8}" presName="horz1" presStyleCnt="0"/>
      <dgm:spPr/>
    </dgm:pt>
    <dgm:pt modelId="{0CF4F957-F261-4918-9DD6-57A621EB8FA8}" type="pres">
      <dgm:prSet presAssocID="{8472D875-E887-40C3-92B2-408874A89DC8}" presName="tx1" presStyleLbl="revTx" presStyleIdx="4" presStyleCnt="10"/>
      <dgm:spPr/>
    </dgm:pt>
    <dgm:pt modelId="{1CF7E111-58FD-43E4-ACF1-1C3CDB471C66}" type="pres">
      <dgm:prSet presAssocID="{8472D875-E887-40C3-92B2-408874A89DC8}" presName="vert1" presStyleCnt="0"/>
      <dgm:spPr/>
    </dgm:pt>
    <dgm:pt modelId="{DB45A174-7DC1-4A0A-B990-DE352A96E529}" type="pres">
      <dgm:prSet presAssocID="{46E5B574-9153-4060-968E-C039228CDD08}" presName="thickLine" presStyleLbl="alignNode1" presStyleIdx="5" presStyleCnt="10"/>
      <dgm:spPr/>
    </dgm:pt>
    <dgm:pt modelId="{26CA8785-24AE-4BFC-ABE9-FB3D174911BE}" type="pres">
      <dgm:prSet presAssocID="{46E5B574-9153-4060-968E-C039228CDD08}" presName="horz1" presStyleCnt="0"/>
      <dgm:spPr/>
    </dgm:pt>
    <dgm:pt modelId="{A1F8862E-8959-4A2A-AC06-B440EC06A8EC}" type="pres">
      <dgm:prSet presAssocID="{46E5B574-9153-4060-968E-C039228CDD08}" presName="tx1" presStyleLbl="revTx" presStyleIdx="5" presStyleCnt="10"/>
      <dgm:spPr/>
    </dgm:pt>
    <dgm:pt modelId="{6D31F7D7-F555-433B-8858-A29947FE1E45}" type="pres">
      <dgm:prSet presAssocID="{46E5B574-9153-4060-968E-C039228CDD08}" presName="vert1" presStyleCnt="0"/>
      <dgm:spPr/>
    </dgm:pt>
    <dgm:pt modelId="{8F533192-7A2F-439D-9CF5-2F41BD3CF4A1}" type="pres">
      <dgm:prSet presAssocID="{3DDA049B-90E3-4DD7-9F25-C51FA07C53F4}" presName="thickLine" presStyleLbl="alignNode1" presStyleIdx="6" presStyleCnt="10"/>
      <dgm:spPr/>
    </dgm:pt>
    <dgm:pt modelId="{65285F9D-9081-498B-9D8E-368A85DD0E48}" type="pres">
      <dgm:prSet presAssocID="{3DDA049B-90E3-4DD7-9F25-C51FA07C53F4}" presName="horz1" presStyleCnt="0"/>
      <dgm:spPr/>
    </dgm:pt>
    <dgm:pt modelId="{D9F075C2-8508-4D11-8289-B6852372CE31}" type="pres">
      <dgm:prSet presAssocID="{3DDA049B-90E3-4DD7-9F25-C51FA07C53F4}" presName="tx1" presStyleLbl="revTx" presStyleIdx="6" presStyleCnt="10"/>
      <dgm:spPr/>
    </dgm:pt>
    <dgm:pt modelId="{58960422-FD7F-439E-BA1B-4D8D28654CFE}" type="pres">
      <dgm:prSet presAssocID="{3DDA049B-90E3-4DD7-9F25-C51FA07C53F4}" presName="vert1" presStyleCnt="0"/>
      <dgm:spPr/>
    </dgm:pt>
    <dgm:pt modelId="{F4E41FED-65F8-4D49-B39A-A4932CD77A52}" type="pres">
      <dgm:prSet presAssocID="{F18A5305-C909-480A-9186-6C3145C89815}" presName="thickLine" presStyleLbl="alignNode1" presStyleIdx="7" presStyleCnt="10"/>
      <dgm:spPr/>
    </dgm:pt>
    <dgm:pt modelId="{E01DFB13-0069-4D7A-AE87-ED0CA84D8A20}" type="pres">
      <dgm:prSet presAssocID="{F18A5305-C909-480A-9186-6C3145C89815}" presName="horz1" presStyleCnt="0"/>
      <dgm:spPr/>
    </dgm:pt>
    <dgm:pt modelId="{D4497840-6DFE-4392-8063-852B007F0452}" type="pres">
      <dgm:prSet presAssocID="{F18A5305-C909-480A-9186-6C3145C89815}" presName="tx1" presStyleLbl="revTx" presStyleIdx="7" presStyleCnt="10"/>
      <dgm:spPr/>
    </dgm:pt>
    <dgm:pt modelId="{C7CFF241-842A-4E25-BB0B-0748706883E5}" type="pres">
      <dgm:prSet presAssocID="{F18A5305-C909-480A-9186-6C3145C89815}" presName="vert1" presStyleCnt="0"/>
      <dgm:spPr/>
    </dgm:pt>
    <dgm:pt modelId="{D96EADB5-87F4-4374-BE52-1158408A5C0D}" type="pres">
      <dgm:prSet presAssocID="{CF170610-0CAB-4497-A9E0-C9B7D0FC332C}" presName="thickLine" presStyleLbl="alignNode1" presStyleIdx="8" presStyleCnt="10"/>
      <dgm:spPr/>
    </dgm:pt>
    <dgm:pt modelId="{8E0AE1D4-5173-4C77-AFC7-E6466CA8094F}" type="pres">
      <dgm:prSet presAssocID="{CF170610-0CAB-4497-A9E0-C9B7D0FC332C}" presName="horz1" presStyleCnt="0"/>
      <dgm:spPr/>
    </dgm:pt>
    <dgm:pt modelId="{33106D59-F9CC-49CF-984A-987415FD06AE}" type="pres">
      <dgm:prSet presAssocID="{CF170610-0CAB-4497-A9E0-C9B7D0FC332C}" presName="tx1" presStyleLbl="revTx" presStyleIdx="8" presStyleCnt="10"/>
      <dgm:spPr/>
    </dgm:pt>
    <dgm:pt modelId="{3189AA14-05CE-430F-B048-93F787080858}" type="pres">
      <dgm:prSet presAssocID="{CF170610-0CAB-4497-A9E0-C9B7D0FC332C}" presName="vert1" presStyleCnt="0"/>
      <dgm:spPr/>
    </dgm:pt>
    <dgm:pt modelId="{7EFD8A7E-0A21-43E5-9D12-C17B3A073E07}" type="pres">
      <dgm:prSet presAssocID="{614115BD-D7C3-4866-9ABC-F741AF6851A1}" presName="thickLine" presStyleLbl="alignNode1" presStyleIdx="9" presStyleCnt="10"/>
      <dgm:spPr/>
    </dgm:pt>
    <dgm:pt modelId="{DE50F085-094D-4A72-9A1C-8481630354DF}" type="pres">
      <dgm:prSet presAssocID="{614115BD-D7C3-4866-9ABC-F741AF6851A1}" presName="horz1" presStyleCnt="0"/>
      <dgm:spPr/>
    </dgm:pt>
    <dgm:pt modelId="{28AE6E07-DFD2-4EDD-88B3-2B159C35A9F6}" type="pres">
      <dgm:prSet presAssocID="{614115BD-D7C3-4866-9ABC-F741AF6851A1}" presName="tx1" presStyleLbl="revTx" presStyleIdx="9" presStyleCnt="10"/>
      <dgm:spPr/>
    </dgm:pt>
    <dgm:pt modelId="{95DCA255-E44C-4EE5-A399-CB9A7F0AEABE}" type="pres">
      <dgm:prSet presAssocID="{614115BD-D7C3-4866-9ABC-F741AF6851A1}" presName="vert1" presStyleCnt="0"/>
      <dgm:spPr/>
    </dgm:pt>
  </dgm:ptLst>
  <dgm:cxnLst>
    <dgm:cxn modelId="{0FE97107-BCA2-4AFE-8B3F-AFA6BB00DB72}" srcId="{6B8C04BE-09C1-4DD8-ABC5-4CD8FE624EC5}" destId="{A4FC8BAF-1D61-4811-88F4-FF2DB173E5FF}" srcOrd="3" destOrd="0" parTransId="{9E026950-A9A2-4496-A4FC-A216032E35A5}" sibTransId="{0BAA271F-2EA7-42F6-B78B-F80D3C51AB23}"/>
    <dgm:cxn modelId="{FEC3B907-B3AC-4948-938B-B2AD95DE5F2E}" srcId="{6B8C04BE-09C1-4DD8-ABC5-4CD8FE624EC5}" destId="{3E33B7CE-3CF6-49D9-A9D6-7C21F64ED705}" srcOrd="0" destOrd="0" parTransId="{47BB47C5-9465-4101-A1E5-7FE21EFF127B}" sibTransId="{3472F7F1-568C-4B90-9969-58B22E560E0E}"/>
    <dgm:cxn modelId="{105E8B10-930E-458C-8103-4575E2107FA8}" type="presOf" srcId="{3E33B7CE-3CF6-49D9-A9D6-7C21F64ED705}" destId="{86ACAA13-1303-4B09-BF9A-1807F7C5CCB9}" srcOrd="0" destOrd="0" presId="urn:microsoft.com/office/officeart/2008/layout/LinedList"/>
    <dgm:cxn modelId="{F5C59420-037B-4DF6-8A2E-70D56E0DC021}" srcId="{6B8C04BE-09C1-4DD8-ABC5-4CD8FE624EC5}" destId="{F18A5305-C909-480A-9186-6C3145C89815}" srcOrd="7" destOrd="0" parTransId="{425F2EEE-60CD-4EBB-A7C9-C4E4D7C061C6}" sibTransId="{248EFF42-220C-488C-9B30-6C73E8E5BF79}"/>
    <dgm:cxn modelId="{675DE833-C56D-4193-B0FF-E24993D97B43}" srcId="{6B8C04BE-09C1-4DD8-ABC5-4CD8FE624EC5}" destId="{FFC37A15-7113-40DE-AFC6-02EE0B05D6FB}" srcOrd="2" destOrd="0" parTransId="{AE3553C1-23B9-4D73-9174-25EA259A5A33}" sibTransId="{33C62D91-A131-4CA8-824A-D8BB12E05586}"/>
    <dgm:cxn modelId="{9432BC36-7CE2-4B25-B074-0601EE7C2F54}" type="presOf" srcId="{3DDA049B-90E3-4DD7-9F25-C51FA07C53F4}" destId="{D9F075C2-8508-4D11-8289-B6852372CE31}" srcOrd="0" destOrd="0" presId="urn:microsoft.com/office/officeart/2008/layout/LinedList"/>
    <dgm:cxn modelId="{7AC6203B-DC61-4917-A6E1-9C376C149771}" type="presOf" srcId="{614115BD-D7C3-4866-9ABC-F741AF6851A1}" destId="{28AE6E07-DFD2-4EDD-88B3-2B159C35A9F6}" srcOrd="0" destOrd="0" presId="urn:microsoft.com/office/officeart/2008/layout/LinedList"/>
    <dgm:cxn modelId="{E9D0156F-9C4B-4C26-BE43-8AB80B7328F1}" srcId="{6B8C04BE-09C1-4DD8-ABC5-4CD8FE624EC5}" destId="{8472D875-E887-40C3-92B2-408874A89DC8}" srcOrd="4" destOrd="0" parTransId="{E9744B15-0386-47C8-A3AB-E08DF579B100}" sibTransId="{B3CAE26F-2AFE-42DB-8BA7-06C65423FFFF}"/>
    <dgm:cxn modelId="{9A0E7777-1382-4D57-B33C-77319DBE34D2}" type="presOf" srcId="{CF170610-0CAB-4497-A9E0-C9B7D0FC332C}" destId="{33106D59-F9CC-49CF-984A-987415FD06AE}" srcOrd="0" destOrd="0" presId="urn:microsoft.com/office/officeart/2008/layout/LinedList"/>
    <dgm:cxn modelId="{BA87B483-EE4B-4F7C-84BA-74D453606265}" srcId="{6B8C04BE-09C1-4DD8-ABC5-4CD8FE624EC5}" destId="{B6AA2009-D4B9-429B-A542-889F409B5932}" srcOrd="1" destOrd="0" parTransId="{B63C83C9-7DB3-40B5-9F98-F0FA907E54BA}" sibTransId="{532105C9-E831-49D1-BCB2-B1188658CC92}"/>
    <dgm:cxn modelId="{8035D597-9233-463D-B4E0-936FB0A126F7}" type="presOf" srcId="{FFC37A15-7113-40DE-AFC6-02EE0B05D6FB}" destId="{AF75F132-0382-4BB8-A212-3B417F51B946}" srcOrd="0" destOrd="0" presId="urn:microsoft.com/office/officeart/2008/layout/LinedList"/>
    <dgm:cxn modelId="{A97EEB9A-4BDA-44A9-99E8-EE3E37A2A7DB}" srcId="{6B8C04BE-09C1-4DD8-ABC5-4CD8FE624EC5}" destId="{46E5B574-9153-4060-968E-C039228CDD08}" srcOrd="5" destOrd="0" parTransId="{8715E3F6-0D0B-4EE1-ADB8-C8F62A1E5C6D}" sibTransId="{571CC1D1-12D1-4B0C-BCA1-2D2A47466AD2}"/>
    <dgm:cxn modelId="{72D007A7-9397-4084-92C4-0B12A54B6C2A}" type="presOf" srcId="{8472D875-E887-40C3-92B2-408874A89DC8}" destId="{0CF4F957-F261-4918-9DD6-57A621EB8FA8}" srcOrd="0" destOrd="0" presId="urn:microsoft.com/office/officeart/2008/layout/LinedList"/>
    <dgm:cxn modelId="{643A5EAE-36C5-4A46-8748-9BAF3814F159}" srcId="{6B8C04BE-09C1-4DD8-ABC5-4CD8FE624EC5}" destId="{3DDA049B-90E3-4DD7-9F25-C51FA07C53F4}" srcOrd="6" destOrd="0" parTransId="{9644FD92-0245-49B0-8B22-387C30EC0B9B}" sibTransId="{5F523E51-2C9D-49C3-8DEB-278583C3C973}"/>
    <dgm:cxn modelId="{EA494DB3-47FF-4DB4-B53E-057AB5861525}" type="presOf" srcId="{46E5B574-9153-4060-968E-C039228CDD08}" destId="{A1F8862E-8959-4A2A-AC06-B440EC06A8EC}" srcOrd="0" destOrd="0" presId="urn:microsoft.com/office/officeart/2008/layout/LinedList"/>
    <dgm:cxn modelId="{ECA712C7-4162-4E0E-9FED-6E0FC1976038}" type="presOf" srcId="{6B8C04BE-09C1-4DD8-ABC5-4CD8FE624EC5}" destId="{E6CF1B6A-3553-4F32-BC2A-532B9136D098}" srcOrd="0" destOrd="0" presId="urn:microsoft.com/office/officeart/2008/layout/LinedList"/>
    <dgm:cxn modelId="{2248F8C8-F816-4442-850A-037116C15622}" srcId="{6B8C04BE-09C1-4DD8-ABC5-4CD8FE624EC5}" destId="{CF170610-0CAB-4497-A9E0-C9B7D0FC332C}" srcOrd="8" destOrd="0" parTransId="{0A6F221C-553C-4B32-9DE8-97A0A9C046BF}" sibTransId="{0DA92228-615E-46D8-A42E-E2E976A3C756}"/>
    <dgm:cxn modelId="{248313D1-A632-4334-AFB6-978EA9BC2861}" type="presOf" srcId="{B6AA2009-D4B9-429B-A542-889F409B5932}" destId="{71648648-47C5-4EFE-B951-6CCE4749B4C3}" srcOrd="0" destOrd="0" presId="urn:microsoft.com/office/officeart/2008/layout/LinedList"/>
    <dgm:cxn modelId="{A23864D6-C24E-44D2-9B7D-F07BB18591D5}" srcId="{6B8C04BE-09C1-4DD8-ABC5-4CD8FE624EC5}" destId="{614115BD-D7C3-4866-9ABC-F741AF6851A1}" srcOrd="9" destOrd="0" parTransId="{AB1163A4-6342-479C-9EB5-8E5400FB6C20}" sibTransId="{293D2888-397D-42FE-A4A6-D49516114B41}"/>
    <dgm:cxn modelId="{BA4E07FB-5AEB-43E6-96DA-0F7854D68F5C}" type="presOf" srcId="{F18A5305-C909-480A-9186-6C3145C89815}" destId="{D4497840-6DFE-4392-8063-852B007F0452}" srcOrd="0" destOrd="0" presId="urn:microsoft.com/office/officeart/2008/layout/LinedList"/>
    <dgm:cxn modelId="{AAE31FFF-5FC7-4038-818F-2F2B7FD9CBE6}" type="presOf" srcId="{A4FC8BAF-1D61-4811-88F4-FF2DB173E5FF}" destId="{E6955864-A47D-4AD5-9484-C552C089D0E8}" srcOrd="0" destOrd="0" presId="urn:microsoft.com/office/officeart/2008/layout/LinedList"/>
    <dgm:cxn modelId="{366704EA-0932-43A0-BB61-EA9915817774}" type="presParOf" srcId="{E6CF1B6A-3553-4F32-BC2A-532B9136D098}" destId="{CCF8D0DE-E11F-4430-B24F-069F56B8C678}" srcOrd="0" destOrd="0" presId="urn:microsoft.com/office/officeart/2008/layout/LinedList"/>
    <dgm:cxn modelId="{D6556A5B-255C-4BFC-9553-E00D58CC6974}" type="presParOf" srcId="{E6CF1B6A-3553-4F32-BC2A-532B9136D098}" destId="{4153DB1E-C480-4C2E-B817-C6123858845D}" srcOrd="1" destOrd="0" presId="urn:microsoft.com/office/officeart/2008/layout/LinedList"/>
    <dgm:cxn modelId="{A8FC85EA-8E43-4941-86A7-3AC516F5B211}" type="presParOf" srcId="{4153DB1E-C480-4C2E-B817-C6123858845D}" destId="{86ACAA13-1303-4B09-BF9A-1807F7C5CCB9}" srcOrd="0" destOrd="0" presId="urn:microsoft.com/office/officeart/2008/layout/LinedList"/>
    <dgm:cxn modelId="{0A979BAA-6D97-4EA8-8076-C78309619654}" type="presParOf" srcId="{4153DB1E-C480-4C2E-B817-C6123858845D}" destId="{3FFBBFD9-568A-4FCA-8F07-C90079696CF8}" srcOrd="1" destOrd="0" presId="urn:microsoft.com/office/officeart/2008/layout/LinedList"/>
    <dgm:cxn modelId="{38099869-0025-47AB-A846-3C6A74139627}" type="presParOf" srcId="{E6CF1B6A-3553-4F32-BC2A-532B9136D098}" destId="{3919A376-E7DC-4766-BE97-742B9D366045}" srcOrd="2" destOrd="0" presId="urn:microsoft.com/office/officeart/2008/layout/LinedList"/>
    <dgm:cxn modelId="{B669E8F5-F118-4E63-B339-E2540B36A9BD}" type="presParOf" srcId="{E6CF1B6A-3553-4F32-BC2A-532B9136D098}" destId="{7969E9A1-E2F3-4AD3-81F7-7E70A9C25C3A}" srcOrd="3" destOrd="0" presId="urn:microsoft.com/office/officeart/2008/layout/LinedList"/>
    <dgm:cxn modelId="{39BAB088-993D-48B5-B1A3-F2D61F28EAB7}" type="presParOf" srcId="{7969E9A1-E2F3-4AD3-81F7-7E70A9C25C3A}" destId="{71648648-47C5-4EFE-B951-6CCE4749B4C3}" srcOrd="0" destOrd="0" presId="urn:microsoft.com/office/officeart/2008/layout/LinedList"/>
    <dgm:cxn modelId="{3320F61F-B0E8-425A-91B0-40CD19B9B461}" type="presParOf" srcId="{7969E9A1-E2F3-4AD3-81F7-7E70A9C25C3A}" destId="{5CBE56A8-9662-41D5-9F04-4ABA696782F3}" srcOrd="1" destOrd="0" presId="urn:microsoft.com/office/officeart/2008/layout/LinedList"/>
    <dgm:cxn modelId="{FEE37FAC-E9E3-486A-B7D0-85B3C64F65C6}" type="presParOf" srcId="{E6CF1B6A-3553-4F32-BC2A-532B9136D098}" destId="{48258E85-27E5-4CCC-9800-6C6D7F6A73AF}" srcOrd="4" destOrd="0" presId="urn:microsoft.com/office/officeart/2008/layout/LinedList"/>
    <dgm:cxn modelId="{886BE7DD-D3CF-4AC8-A166-6B16DF320540}" type="presParOf" srcId="{E6CF1B6A-3553-4F32-BC2A-532B9136D098}" destId="{7C3861C2-3DC4-4523-8FC0-D6764EDA2049}" srcOrd="5" destOrd="0" presId="urn:microsoft.com/office/officeart/2008/layout/LinedList"/>
    <dgm:cxn modelId="{368DA42F-2893-433A-9AE8-1004F2F727AB}" type="presParOf" srcId="{7C3861C2-3DC4-4523-8FC0-D6764EDA2049}" destId="{AF75F132-0382-4BB8-A212-3B417F51B946}" srcOrd="0" destOrd="0" presId="urn:microsoft.com/office/officeart/2008/layout/LinedList"/>
    <dgm:cxn modelId="{A3112E60-CE53-43D5-87CE-9F5109BDF3A6}" type="presParOf" srcId="{7C3861C2-3DC4-4523-8FC0-D6764EDA2049}" destId="{A53CFE44-6A8B-4A73-8C77-DF299FD8F3BD}" srcOrd="1" destOrd="0" presId="urn:microsoft.com/office/officeart/2008/layout/LinedList"/>
    <dgm:cxn modelId="{91C16DD9-F622-4498-98DB-D2B0E7AE4E79}" type="presParOf" srcId="{E6CF1B6A-3553-4F32-BC2A-532B9136D098}" destId="{107418CE-F425-4DE2-971B-7C9E18C44148}" srcOrd="6" destOrd="0" presId="urn:microsoft.com/office/officeart/2008/layout/LinedList"/>
    <dgm:cxn modelId="{4E7FACEF-2EFC-41D2-90AF-F01E7124EAFE}" type="presParOf" srcId="{E6CF1B6A-3553-4F32-BC2A-532B9136D098}" destId="{C2A08629-7D49-4885-9FF7-19FF99928F29}" srcOrd="7" destOrd="0" presId="urn:microsoft.com/office/officeart/2008/layout/LinedList"/>
    <dgm:cxn modelId="{402890D8-7A92-4636-A644-A40BD19B1981}" type="presParOf" srcId="{C2A08629-7D49-4885-9FF7-19FF99928F29}" destId="{E6955864-A47D-4AD5-9484-C552C089D0E8}" srcOrd="0" destOrd="0" presId="urn:microsoft.com/office/officeart/2008/layout/LinedList"/>
    <dgm:cxn modelId="{3D2C5E8B-1472-47DE-A96A-9C03CBB7045A}" type="presParOf" srcId="{C2A08629-7D49-4885-9FF7-19FF99928F29}" destId="{82A8EA3F-D1D5-4FB7-86B2-8117B20CE50E}" srcOrd="1" destOrd="0" presId="urn:microsoft.com/office/officeart/2008/layout/LinedList"/>
    <dgm:cxn modelId="{4FB62789-57D6-4BB2-B425-A18CFC228F0E}" type="presParOf" srcId="{E6CF1B6A-3553-4F32-BC2A-532B9136D098}" destId="{85028B2B-778A-49D4-A767-DC5F165BC690}" srcOrd="8" destOrd="0" presId="urn:microsoft.com/office/officeart/2008/layout/LinedList"/>
    <dgm:cxn modelId="{FC524A8C-8815-4AA8-B131-8F0862240041}" type="presParOf" srcId="{E6CF1B6A-3553-4F32-BC2A-532B9136D098}" destId="{8083A5CF-A3D1-4779-BC06-DD0C680CF7BB}" srcOrd="9" destOrd="0" presId="urn:microsoft.com/office/officeart/2008/layout/LinedList"/>
    <dgm:cxn modelId="{9B1EC878-7BF3-4240-8851-2E3C313C7CB8}" type="presParOf" srcId="{8083A5CF-A3D1-4779-BC06-DD0C680CF7BB}" destId="{0CF4F957-F261-4918-9DD6-57A621EB8FA8}" srcOrd="0" destOrd="0" presId="urn:microsoft.com/office/officeart/2008/layout/LinedList"/>
    <dgm:cxn modelId="{910630C2-1199-442F-B193-B0BA23A115CD}" type="presParOf" srcId="{8083A5CF-A3D1-4779-BC06-DD0C680CF7BB}" destId="{1CF7E111-58FD-43E4-ACF1-1C3CDB471C66}" srcOrd="1" destOrd="0" presId="urn:microsoft.com/office/officeart/2008/layout/LinedList"/>
    <dgm:cxn modelId="{CD945D7B-BBA3-4A83-A28B-4A0A253AD233}" type="presParOf" srcId="{E6CF1B6A-3553-4F32-BC2A-532B9136D098}" destId="{DB45A174-7DC1-4A0A-B990-DE352A96E529}" srcOrd="10" destOrd="0" presId="urn:microsoft.com/office/officeart/2008/layout/LinedList"/>
    <dgm:cxn modelId="{EA460975-13DD-46D7-9C3C-7F2E4155004D}" type="presParOf" srcId="{E6CF1B6A-3553-4F32-BC2A-532B9136D098}" destId="{26CA8785-24AE-4BFC-ABE9-FB3D174911BE}" srcOrd="11" destOrd="0" presId="urn:microsoft.com/office/officeart/2008/layout/LinedList"/>
    <dgm:cxn modelId="{C774A691-1A26-4FA2-A681-974280A3B191}" type="presParOf" srcId="{26CA8785-24AE-4BFC-ABE9-FB3D174911BE}" destId="{A1F8862E-8959-4A2A-AC06-B440EC06A8EC}" srcOrd="0" destOrd="0" presId="urn:microsoft.com/office/officeart/2008/layout/LinedList"/>
    <dgm:cxn modelId="{0D60C256-4D79-445F-8694-8F7FBCA95373}" type="presParOf" srcId="{26CA8785-24AE-4BFC-ABE9-FB3D174911BE}" destId="{6D31F7D7-F555-433B-8858-A29947FE1E45}" srcOrd="1" destOrd="0" presId="urn:microsoft.com/office/officeart/2008/layout/LinedList"/>
    <dgm:cxn modelId="{B4475C24-A811-415E-908D-9CEB1EF36AAC}" type="presParOf" srcId="{E6CF1B6A-3553-4F32-BC2A-532B9136D098}" destId="{8F533192-7A2F-439D-9CF5-2F41BD3CF4A1}" srcOrd="12" destOrd="0" presId="urn:microsoft.com/office/officeart/2008/layout/LinedList"/>
    <dgm:cxn modelId="{34F03903-008B-4AD3-83B9-A6F44BC3F0D6}" type="presParOf" srcId="{E6CF1B6A-3553-4F32-BC2A-532B9136D098}" destId="{65285F9D-9081-498B-9D8E-368A85DD0E48}" srcOrd="13" destOrd="0" presId="urn:microsoft.com/office/officeart/2008/layout/LinedList"/>
    <dgm:cxn modelId="{8CC387A5-2A80-4BE2-8591-1780CA7B52B2}" type="presParOf" srcId="{65285F9D-9081-498B-9D8E-368A85DD0E48}" destId="{D9F075C2-8508-4D11-8289-B6852372CE31}" srcOrd="0" destOrd="0" presId="urn:microsoft.com/office/officeart/2008/layout/LinedList"/>
    <dgm:cxn modelId="{7B0563DE-98C8-4D44-8D2B-2BE3A191166A}" type="presParOf" srcId="{65285F9D-9081-498B-9D8E-368A85DD0E48}" destId="{58960422-FD7F-439E-BA1B-4D8D28654CFE}" srcOrd="1" destOrd="0" presId="urn:microsoft.com/office/officeart/2008/layout/LinedList"/>
    <dgm:cxn modelId="{2DD880F0-8895-46AF-9240-56B1EC1BB85B}" type="presParOf" srcId="{E6CF1B6A-3553-4F32-BC2A-532B9136D098}" destId="{F4E41FED-65F8-4D49-B39A-A4932CD77A52}" srcOrd="14" destOrd="0" presId="urn:microsoft.com/office/officeart/2008/layout/LinedList"/>
    <dgm:cxn modelId="{BACE3651-C9C3-45F9-8E32-B68483A2CF43}" type="presParOf" srcId="{E6CF1B6A-3553-4F32-BC2A-532B9136D098}" destId="{E01DFB13-0069-4D7A-AE87-ED0CA84D8A20}" srcOrd="15" destOrd="0" presId="urn:microsoft.com/office/officeart/2008/layout/LinedList"/>
    <dgm:cxn modelId="{C7DE3566-EA25-4C1F-95C1-C6E44E084779}" type="presParOf" srcId="{E01DFB13-0069-4D7A-AE87-ED0CA84D8A20}" destId="{D4497840-6DFE-4392-8063-852B007F0452}" srcOrd="0" destOrd="0" presId="urn:microsoft.com/office/officeart/2008/layout/LinedList"/>
    <dgm:cxn modelId="{B1715CFF-2F2A-405E-906A-C88E68AFFFBC}" type="presParOf" srcId="{E01DFB13-0069-4D7A-AE87-ED0CA84D8A20}" destId="{C7CFF241-842A-4E25-BB0B-0748706883E5}" srcOrd="1" destOrd="0" presId="urn:microsoft.com/office/officeart/2008/layout/LinedList"/>
    <dgm:cxn modelId="{A0738D92-A613-47E6-BF83-E4F20CB444C4}" type="presParOf" srcId="{E6CF1B6A-3553-4F32-BC2A-532B9136D098}" destId="{D96EADB5-87F4-4374-BE52-1158408A5C0D}" srcOrd="16" destOrd="0" presId="urn:microsoft.com/office/officeart/2008/layout/LinedList"/>
    <dgm:cxn modelId="{6CB86B65-576E-48D2-AA10-2B8E7F142A5F}" type="presParOf" srcId="{E6CF1B6A-3553-4F32-BC2A-532B9136D098}" destId="{8E0AE1D4-5173-4C77-AFC7-E6466CA8094F}" srcOrd="17" destOrd="0" presId="urn:microsoft.com/office/officeart/2008/layout/LinedList"/>
    <dgm:cxn modelId="{AEA8B41C-50C8-4AF2-85A1-4C4F98543093}" type="presParOf" srcId="{8E0AE1D4-5173-4C77-AFC7-E6466CA8094F}" destId="{33106D59-F9CC-49CF-984A-987415FD06AE}" srcOrd="0" destOrd="0" presId="urn:microsoft.com/office/officeart/2008/layout/LinedList"/>
    <dgm:cxn modelId="{0FF8A61D-790B-406D-98DA-E506F5FC20FC}" type="presParOf" srcId="{8E0AE1D4-5173-4C77-AFC7-E6466CA8094F}" destId="{3189AA14-05CE-430F-B048-93F787080858}" srcOrd="1" destOrd="0" presId="urn:microsoft.com/office/officeart/2008/layout/LinedList"/>
    <dgm:cxn modelId="{09BC3590-5038-4D4C-B431-6EF177793913}" type="presParOf" srcId="{E6CF1B6A-3553-4F32-BC2A-532B9136D098}" destId="{7EFD8A7E-0A21-43E5-9D12-C17B3A073E07}" srcOrd="18" destOrd="0" presId="urn:microsoft.com/office/officeart/2008/layout/LinedList"/>
    <dgm:cxn modelId="{4A689EDD-D0DD-4AAE-A745-4A4436D4DBEF}" type="presParOf" srcId="{E6CF1B6A-3553-4F32-BC2A-532B9136D098}" destId="{DE50F085-094D-4A72-9A1C-8481630354DF}" srcOrd="19" destOrd="0" presId="urn:microsoft.com/office/officeart/2008/layout/LinedList"/>
    <dgm:cxn modelId="{8DD2EF26-3E2F-4630-87C3-E0E644117149}" type="presParOf" srcId="{DE50F085-094D-4A72-9A1C-8481630354DF}" destId="{28AE6E07-DFD2-4EDD-88B3-2B159C35A9F6}" srcOrd="0" destOrd="0" presId="urn:microsoft.com/office/officeart/2008/layout/LinedList"/>
    <dgm:cxn modelId="{442D4475-BEEF-47A0-B52A-E313C83A23B3}" type="presParOf" srcId="{DE50F085-094D-4A72-9A1C-8481630354DF}" destId="{95DCA255-E44C-4EE5-A399-CB9A7F0AEABE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BB0587-2633-49E9-8C27-B69A6EE12B4B}">
      <dsp:nvSpPr>
        <dsp:cNvPr id="0" name=""/>
        <dsp:cNvSpPr/>
      </dsp:nvSpPr>
      <dsp:spPr>
        <a:xfrm>
          <a:off x="490064" y="611029"/>
          <a:ext cx="795761" cy="795761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9F02055-84FA-4EDD-9EEF-11AE80C5BBFC}">
      <dsp:nvSpPr>
        <dsp:cNvPr id="0" name=""/>
        <dsp:cNvSpPr/>
      </dsp:nvSpPr>
      <dsp:spPr>
        <a:xfrm>
          <a:off x="3765" y="1785281"/>
          <a:ext cx="1768359" cy="13483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/>
            <a:t>Erfasst kognitive Kompetenzen von Erwachsenen im internationalen Vergleich </a:t>
          </a:r>
          <a:endParaRPr lang="en-US" sz="1600" kern="1200" dirty="0"/>
        </a:p>
      </dsp:txBody>
      <dsp:txXfrm>
        <a:off x="3765" y="1785281"/>
        <a:ext cx="1768359" cy="1348374"/>
      </dsp:txXfrm>
    </dsp:sp>
    <dsp:sp modelId="{063CAD3B-E81D-4191-8D65-A6FE9AB06940}">
      <dsp:nvSpPr>
        <dsp:cNvPr id="0" name=""/>
        <dsp:cNvSpPr/>
      </dsp:nvSpPr>
      <dsp:spPr>
        <a:xfrm>
          <a:off x="2567886" y="611029"/>
          <a:ext cx="795761" cy="795761"/>
        </a:xfrm>
        <a:prstGeom prst="rect">
          <a:avLst/>
        </a:prstGeom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AAA7AB2-6121-42D2-A349-0D5C3FEDC790}">
      <dsp:nvSpPr>
        <dsp:cNvPr id="0" name=""/>
        <dsp:cNvSpPr/>
      </dsp:nvSpPr>
      <dsp:spPr>
        <a:xfrm>
          <a:off x="2081587" y="1785281"/>
          <a:ext cx="1768359" cy="13483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OECD – Studie in über 40 Ländern</a:t>
          </a:r>
          <a:endParaRPr lang="en-US" sz="1600" kern="1200" dirty="0"/>
        </a:p>
      </dsp:txBody>
      <dsp:txXfrm>
        <a:off x="2081587" y="1785281"/>
        <a:ext cx="1768359" cy="1348374"/>
      </dsp:txXfrm>
    </dsp:sp>
    <dsp:sp modelId="{A709323E-21CC-400E-BA32-36BF76D65BFF}">
      <dsp:nvSpPr>
        <dsp:cNvPr id="0" name=""/>
        <dsp:cNvSpPr/>
      </dsp:nvSpPr>
      <dsp:spPr>
        <a:xfrm>
          <a:off x="4645708" y="611029"/>
          <a:ext cx="795761" cy="795761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BCD3D5-B24B-4ABE-A0CB-01026379D968}">
      <dsp:nvSpPr>
        <dsp:cNvPr id="0" name=""/>
        <dsp:cNvSpPr/>
      </dsp:nvSpPr>
      <dsp:spPr>
        <a:xfrm>
          <a:off x="4159409" y="1785281"/>
          <a:ext cx="1768359" cy="13483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Repräsentatives Sample: 16 - 65 Jährige; </a:t>
          </a:r>
          <a:r>
            <a:rPr lang="de-DE" sz="1600" i="1" kern="1200" dirty="0"/>
            <a:t>N</a:t>
          </a:r>
          <a:r>
            <a:rPr lang="de-DE" sz="1600" kern="1200" dirty="0"/>
            <a:t>= ca. 5.000 Befragte pro Land</a:t>
          </a:r>
          <a:endParaRPr lang="en-US" sz="1600" kern="1200" dirty="0"/>
        </a:p>
      </dsp:txBody>
      <dsp:txXfrm>
        <a:off x="4159409" y="1785281"/>
        <a:ext cx="1768359" cy="1348374"/>
      </dsp:txXfrm>
    </dsp:sp>
    <dsp:sp modelId="{6A6EB243-C4AA-4424-A557-16BFA041BA1F}">
      <dsp:nvSpPr>
        <dsp:cNvPr id="0" name=""/>
        <dsp:cNvSpPr/>
      </dsp:nvSpPr>
      <dsp:spPr>
        <a:xfrm>
          <a:off x="6723531" y="611029"/>
          <a:ext cx="795761" cy="795761"/>
        </a:xfrm>
        <a:prstGeom prst="rect">
          <a:avLst/>
        </a:prstGeom>
        <a:blipFill rotWithShape="1"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BA18EF3-48DC-4C70-9B7C-5EBAD637F40C}">
      <dsp:nvSpPr>
        <dsp:cNvPr id="0" name=""/>
        <dsp:cNvSpPr/>
      </dsp:nvSpPr>
      <dsp:spPr>
        <a:xfrm>
          <a:off x="6237232" y="1785281"/>
          <a:ext cx="1768359" cy="13483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10 Jahres Zyklus (2011/12; </a:t>
          </a:r>
        </a:p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2022/23; …)</a:t>
          </a:r>
          <a:endParaRPr lang="en-US" sz="1600" kern="1200" dirty="0"/>
        </a:p>
      </dsp:txBody>
      <dsp:txXfrm>
        <a:off x="6237232" y="1785281"/>
        <a:ext cx="1768359" cy="134837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1ADC6E-F076-4F84-8413-BD646B93D70E}">
      <dsp:nvSpPr>
        <dsp:cNvPr id="0" name=""/>
        <dsp:cNvSpPr/>
      </dsp:nvSpPr>
      <dsp:spPr>
        <a:xfrm>
          <a:off x="1283" y="507350"/>
          <a:ext cx="4505585" cy="286104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F6B4B74-8315-47AF-A126-DD0E61287D9D}">
      <dsp:nvSpPr>
        <dsp:cNvPr id="0" name=""/>
        <dsp:cNvSpPr/>
      </dsp:nvSpPr>
      <dsp:spPr>
        <a:xfrm>
          <a:off x="501904" y="982940"/>
          <a:ext cx="4505585" cy="28610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2800" i="0" kern="1200" cap="none" baseline="0" dirty="0" err="1"/>
            <a:t>Weitere</a:t>
          </a:r>
          <a:r>
            <a:rPr lang="en-US" sz="2800" i="0" kern="1200" cap="none" baseline="0" dirty="0"/>
            <a:t> </a:t>
          </a:r>
          <a:r>
            <a:rPr lang="en-US" sz="2800" i="0" kern="1200" cap="none" baseline="0" dirty="0" err="1"/>
            <a:t>Datenbestände</a:t>
          </a:r>
          <a:r>
            <a:rPr lang="en-US" sz="2800" i="0" kern="1200" cap="none" baseline="0" dirty="0"/>
            <a:t>: </a:t>
          </a:r>
          <a:r>
            <a:rPr lang="en-US" sz="2800" i="0" kern="1200" cap="none" baseline="0" dirty="0" err="1"/>
            <a:t>z.B.</a:t>
          </a:r>
          <a:r>
            <a:rPr lang="en-US" sz="2800" i="0" kern="1200" cap="none" baseline="0" dirty="0"/>
            <a:t> PIAAC-Longitudinal (2014, 2015, 2016)</a:t>
          </a:r>
          <a:endParaRPr lang="en-US" sz="2800" u="none" kern="1200" cap="none" baseline="0" dirty="0"/>
        </a:p>
      </dsp:txBody>
      <dsp:txXfrm>
        <a:off x="585701" y="1066737"/>
        <a:ext cx="4337991" cy="2693452"/>
      </dsp:txXfrm>
    </dsp:sp>
    <dsp:sp modelId="{8C2D73C5-E326-46D6-91C0-253A4A209F38}">
      <dsp:nvSpPr>
        <dsp:cNvPr id="0" name=""/>
        <dsp:cNvSpPr/>
      </dsp:nvSpPr>
      <dsp:spPr>
        <a:xfrm>
          <a:off x="5508110" y="507350"/>
          <a:ext cx="4505585" cy="286104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C90D48C-2B4F-4A8B-BB12-EAA443663A14}">
      <dsp:nvSpPr>
        <dsp:cNvPr id="0" name=""/>
        <dsp:cNvSpPr/>
      </dsp:nvSpPr>
      <dsp:spPr>
        <a:xfrm>
          <a:off x="6008730" y="982940"/>
          <a:ext cx="4505585" cy="286104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2800" i="0" kern="1200" cap="none" baseline="0" dirty="0"/>
            <a:t>International PIAAC Research Conference 2025 </a:t>
          </a:r>
          <a:endParaRPr lang="en-US" sz="2800" kern="1200" cap="none" baseline="0" dirty="0"/>
        </a:p>
      </dsp:txBody>
      <dsp:txXfrm>
        <a:off x="6092527" y="1066737"/>
        <a:ext cx="4337991" cy="269345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F8D0DE-E11F-4430-B24F-069F56B8C678}">
      <dsp:nvSpPr>
        <dsp:cNvPr id="0" name=""/>
        <dsp:cNvSpPr/>
      </dsp:nvSpPr>
      <dsp:spPr>
        <a:xfrm>
          <a:off x="0" y="444"/>
          <a:ext cx="54818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6ACAA13-1303-4B09-BF9A-1807F7C5CCB9}">
      <dsp:nvSpPr>
        <dsp:cNvPr id="0" name=""/>
        <dsp:cNvSpPr/>
      </dsp:nvSpPr>
      <dsp:spPr>
        <a:xfrm>
          <a:off x="0" y="444"/>
          <a:ext cx="5481828" cy="3638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A	Allgemeine Informationen</a:t>
          </a:r>
        </a:p>
      </dsp:txBody>
      <dsp:txXfrm>
        <a:off x="0" y="444"/>
        <a:ext cx="5481828" cy="363840"/>
      </dsp:txXfrm>
    </dsp:sp>
    <dsp:sp modelId="{3919A376-E7DC-4766-BE97-742B9D366045}">
      <dsp:nvSpPr>
        <dsp:cNvPr id="0" name=""/>
        <dsp:cNvSpPr/>
      </dsp:nvSpPr>
      <dsp:spPr>
        <a:xfrm>
          <a:off x="0" y="364284"/>
          <a:ext cx="54818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1648648-47C5-4EFE-B951-6CCE4749B4C3}">
      <dsp:nvSpPr>
        <dsp:cNvPr id="0" name=""/>
        <dsp:cNvSpPr/>
      </dsp:nvSpPr>
      <dsp:spPr>
        <a:xfrm>
          <a:off x="0" y="364284"/>
          <a:ext cx="5481828" cy="3638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B	Bildung</a:t>
          </a:r>
        </a:p>
      </dsp:txBody>
      <dsp:txXfrm>
        <a:off x="0" y="364284"/>
        <a:ext cx="5481828" cy="363840"/>
      </dsp:txXfrm>
    </dsp:sp>
    <dsp:sp modelId="{48258E85-27E5-4CCC-9800-6C6D7F6A73AF}">
      <dsp:nvSpPr>
        <dsp:cNvPr id="0" name=""/>
        <dsp:cNvSpPr/>
      </dsp:nvSpPr>
      <dsp:spPr>
        <a:xfrm>
          <a:off x="0" y="728124"/>
          <a:ext cx="54818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F75F132-0382-4BB8-A212-3B417F51B946}">
      <dsp:nvSpPr>
        <dsp:cNvPr id="0" name=""/>
        <dsp:cNvSpPr/>
      </dsp:nvSpPr>
      <dsp:spPr>
        <a:xfrm>
          <a:off x="0" y="728124"/>
          <a:ext cx="5481828" cy="3638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C	Erwerbsstatus und Werdegang</a:t>
          </a:r>
        </a:p>
      </dsp:txBody>
      <dsp:txXfrm>
        <a:off x="0" y="728124"/>
        <a:ext cx="5481828" cy="363840"/>
      </dsp:txXfrm>
    </dsp:sp>
    <dsp:sp modelId="{107418CE-F425-4DE2-971B-7C9E18C44148}">
      <dsp:nvSpPr>
        <dsp:cNvPr id="0" name=""/>
        <dsp:cNvSpPr/>
      </dsp:nvSpPr>
      <dsp:spPr>
        <a:xfrm>
          <a:off x="0" y="1091964"/>
          <a:ext cx="54818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6955864-A47D-4AD5-9484-C552C089D0E8}">
      <dsp:nvSpPr>
        <dsp:cNvPr id="0" name=""/>
        <dsp:cNvSpPr/>
      </dsp:nvSpPr>
      <dsp:spPr>
        <a:xfrm>
          <a:off x="0" y="1091964"/>
          <a:ext cx="5481828" cy="3638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D	Derzeitige Erwerbstätigkeit</a:t>
          </a:r>
        </a:p>
      </dsp:txBody>
      <dsp:txXfrm>
        <a:off x="0" y="1091964"/>
        <a:ext cx="5481828" cy="363840"/>
      </dsp:txXfrm>
    </dsp:sp>
    <dsp:sp modelId="{85028B2B-778A-49D4-A767-DC5F165BC690}">
      <dsp:nvSpPr>
        <dsp:cNvPr id="0" name=""/>
        <dsp:cNvSpPr/>
      </dsp:nvSpPr>
      <dsp:spPr>
        <a:xfrm>
          <a:off x="0" y="1455804"/>
          <a:ext cx="54818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CF4F957-F261-4918-9DD6-57A621EB8FA8}">
      <dsp:nvSpPr>
        <dsp:cNvPr id="0" name=""/>
        <dsp:cNvSpPr/>
      </dsp:nvSpPr>
      <dsp:spPr>
        <a:xfrm>
          <a:off x="0" y="1455804"/>
          <a:ext cx="5481828" cy="3638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E	Letzte Erwerbstätigkeit</a:t>
          </a:r>
        </a:p>
      </dsp:txBody>
      <dsp:txXfrm>
        <a:off x="0" y="1455804"/>
        <a:ext cx="5481828" cy="363840"/>
      </dsp:txXfrm>
    </dsp:sp>
    <dsp:sp modelId="{DB45A174-7DC1-4A0A-B990-DE352A96E529}">
      <dsp:nvSpPr>
        <dsp:cNvPr id="0" name=""/>
        <dsp:cNvSpPr/>
      </dsp:nvSpPr>
      <dsp:spPr>
        <a:xfrm>
          <a:off x="0" y="1819644"/>
          <a:ext cx="54818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F8862E-8959-4A2A-AC06-B440EC06A8EC}">
      <dsp:nvSpPr>
        <dsp:cNvPr id="0" name=""/>
        <dsp:cNvSpPr/>
      </dsp:nvSpPr>
      <dsp:spPr>
        <a:xfrm>
          <a:off x="0" y="1819644"/>
          <a:ext cx="5481828" cy="3638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F	Bei der Arbeit eingesetzte Fertigkeiten</a:t>
          </a:r>
        </a:p>
      </dsp:txBody>
      <dsp:txXfrm>
        <a:off x="0" y="1819644"/>
        <a:ext cx="5481828" cy="363840"/>
      </dsp:txXfrm>
    </dsp:sp>
    <dsp:sp modelId="{8F533192-7A2F-439D-9CF5-2F41BD3CF4A1}">
      <dsp:nvSpPr>
        <dsp:cNvPr id="0" name=""/>
        <dsp:cNvSpPr/>
      </dsp:nvSpPr>
      <dsp:spPr>
        <a:xfrm>
          <a:off x="0" y="2183484"/>
          <a:ext cx="54818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9F075C2-8508-4D11-8289-B6852372CE31}">
      <dsp:nvSpPr>
        <dsp:cNvPr id="0" name=""/>
        <dsp:cNvSpPr/>
      </dsp:nvSpPr>
      <dsp:spPr>
        <a:xfrm>
          <a:off x="0" y="2183484"/>
          <a:ext cx="5481828" cy="3638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G	Lesen, Schreiben etc. während der Arbeit</a:t>
          </a:r>
        </a:p>
      </dsp:txBody>
      <dsp:txXfrm>
        <a:off x="0" y="2183484"/>
        <a:ext cx="5481828" cy="363840"/>
      </dsp:txXfrm>
    </dsp:sp>
    <dsp:sp modelId="{F4E41FED-65F8-4D49-B39A-A4932CD77A52}">
      <dsp:nvSpPr>
        <dsp:cNvPr id="0" name=""/>
        <dsp:cNvSpPr/>
      </dsp:nvSpPr>
      <dsp:spPr>
        <a:xfrm>
          <a:off x="0" y="2547324"/>
          <a:ext cx="54818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4497840-6DFE-4392-8063-852B007F0452}">
      <dsp:nvSpPr>
        <dsp:cNvPr id="0" name=""/>
        <dsp:cNvSpPr/>
      </dsp:nvSpPr>
      <dsp:spPr>
        <a:xfrm>
          <a:off x="0" y="2547324"/>
          <a:ext cx="5481828" cy="3638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H	Lesen, Schreiben etc. im Alltag</a:t>
          </a:r>
        </a:p>
      </dsp:txBody>
      <dsp:txXfrm>
        <a:off x="0" y="2547324"/>
        <a:ext cx="5481828" cy="363840"/>
      </dsp:txXfrm>
    </dsp:sp>
    <dsp:sp modelId="{D96EADB5-87F4-4374-BE52-1158408A5C0D}">
      <dsp:nvSpPr>
        <dsp:cNvPr id="0" name=""/>
        <dsp:cNvSpPr/>
      </dsp:nvSpPr>
      <dsp:spPr>
        <a:xfrm>
          <a:off x="0" y="2911164"/>
          <a:ext cx="54818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106D59-F9CC-49CF-984A-987415FD06AE}">
      <dsp:nvSpPr>
        <dsp:cNvPr id="0" name=""/>
        <dsp:cNvSpPr/>
      </dsp:nvSpPr>
      <dsp:spPr>
        <a:xfrm>
          <a:off x="0" y="2911164"/>
          <a:ext cx="5481828" cy="3638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I	Einstellung, Selbsteinschätzung</a:t>
          </a:r>
        </a:p>
      </dsp:txBody>
      <dsp:txXfrm>
        <a:off x="0" y="2911164"/>
        <a:ext cx="5481828" cy="363840"/>
      </dsp:txXfrm>
    </dsp:sp>
    <dsp:sp modelId="{7EFD8A7E-0A21-43E5-9D12-C17B3A073E07}">
      <dsp:nvSpPr>
        <dsp:cNvPr id="0" name=""/>
        <dsp:cNvSpPr/>
      </dsp:nvSpPr>
      <dsp:spPr>
        <a:xfrm>
          <a:off x="0" y="3275004"/>
          <a:ext cx="5481828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8AE6E07-DFD2-4EDD-88B3-2B159C35A9F6}">
      <dsp:nvSpPr>
        <dsp:cNvPr id="0" name=""/>
        <dsp:cNvSpPr/>
      </dsp:nvSpPr>
      <dsp:spPr>
        <a:xfrm>
          <a:off x="0" y="3275004"/>
          <a:ext cx="5481828" cy="36384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/>
            <a:t>J	Hintergrundinformationen</a:t>
          </a:r>
        </a:p>
      </dsp:txBody>
      <dsp:txXfrm>
        <a:off x="0" y="3275004"/>
        <a:ext cx="5481828" cy="36384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CE2070-EB2B-4B9F-9C44-CF43310E9436}" type="datetimeFigureOut">
              <a:rPr lang="de-DE" smtClean="0"/>
              <a:t>19.10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38250"/>
            <a:ext cx="59436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450" y="4767262"/>
            <a:ext cx="5435600" cy="39004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1473C7-5A2E-4EF8-B833-FEA47ADE1CE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569496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Kurze Vorstellung der Reihe </a:t>
            </a:r>
          </a:p>
          <a:p>
            <a:r>
              <a:rPr lang="de-DE" dirty="0"/>
              <a:t>Nennung der Veranstalter Verbund und </a:t>
            </a:r>
            <a:r>
              <a:rPr lang="de-DE" dirty="0" err="1"/>
              <a:t>Konsort</a:t>
            </a:r>
            <a:r>
              <a:rPr lang="de-DE" dirty="0"/>
              <a:t>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473C7-5A2E-4EF8-B833-FEA47ADE1CEF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140898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473C7-5A2E-4EF8-B833-FEA47ADE1CEF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808683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1-2 Minute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Weitere Datenbestände und Services im FDZ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473C7-5A2E-4EF8-B833-FEA47ADE1CEF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125994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473C7-5A2E-4EF8-B833-FEA47ADE1CEF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36950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de-DE" b="0" i="0" dirty="0">
                <a:solidFill>
                  <a:srgbClr val="000000"/>
                </a:solidFill>
                <a:effectLst/>
                <a:latin typeface="Source Sans Pro" panose="020B0503030403020204" pitchFamily="34" charset="0"/>
              </a:rPr>
              <a:t>PIAAC 2022: </a:t>
            </a:r>
          </a:p>
          <a:p>
            <a:pPr algn="l"/>
            <a:r>
              <a:rPr lang="de-DE" sz="1000" b="0" i="0" dirty="0">
                <a:solidFill>
                  <a:srgbClr val="000000"/>
                </a:solidFill>
                <a:effectLst/>
                <a:latin typeface="Source Sans Pro" panose="020B0503030403020204" pitchFamily="34" charset="0"/>
              </a:rPr>
              <a:t>Die zentralen Elemente des PIAAC-Hintergrundfragebogens 2022 (Zyklus II) sind: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e-DE" sz="1000" b="0" i="0" dirty="0">
                <a:solidFill>
                  <a:srgbClr val="000000"/>
                </a:solidFill>
                <a:effectLst/>
                <a:latin typeface="Source Sans Pro" panose="020B0503030403020204" pitchFamily="34" charset="0"/>
              </a:rPr>
              <a:t>Sozioökonomischer und demografischer Hintergrund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e-DE" sz="1000" b="0" i="0" dirty="0">
                <a:solidFill>
                  <a:srgbClr val="000000"/>
                </a:solidFill>
                <a:effectLst/>
                <a:latin typeface="Source Sans Pro" panose="020B0503030403020204" pitchFamily="34" charset="0"/>
              </a:rPr>
              <a:t>Schulische und berufliche Bildung sowie Weiterbildung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e-DE" sz="1000" b="0" i="0" dirty="0">
                <a:solidFill>
                  <a:srgbClr val="000000"/>
                </a:solidFill>
                <a:effectLst/>
                <a:latin typeface="Source Sans Pro" panose="020B0503030403020204" pitchFamily="34" charset="0"/>
              </a:rPr>
              <a:t>Aktuelle Erwerbstätigkeit, beruflicher Werdegang und Arbeitsumfeld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e-DE" sz="1000" b="0" i="0" dirty="0">
                <a:solidFill>
                  <a:srgbClr val="000000"/>
                </a:solidFill>
                <a:effectLst/>
                <a:latin typeface="Source Sans Pro" panose="020B0503030403020204" pitchFamily="34" charset="0"/>
              </a:rPr>
              <a:t>Allgemeine und berufliche Verwendung der eigenen Fertigkeiten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de-DE" sz="1000" b="0" i="0" dirty="0">
                <a:solidFill>
                  <a:srgbClr val="000000"/>
                </a:solidFill>
                <a:effectLst/>
                <a:latin typeface="Source Sans Pro" panose="020B0503030403020204" pitchFamily="34" charset="0"/>
              </a:rPr>
              <a:t>Allgemeine Hintergrundfragen, Einstellungen und Persönlichkeitsmerkmale 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473C7-5A2E-4EF8-B833-FEA47ADE1CEF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65456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de-DE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473C7-5A2E-4EF8-B833-FEA47ADE1CEF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588652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1-2 Minuten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473C7-5A2E-4EF8-B833-FEA47ADE1CEF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12885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473C7-5A2E-4EF8-B833-FEA47ADE1CEF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926628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5+ Minuten </a:t>
            </a:r>
          </a:p>
          <a:p>
            <a:r>
              <a:rPr lang="de-DE" dirty="0"/>
              <a:t>Welche Fragen kann ich damit beantworten? 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473C7-5A2E-4EF8-B833-FEA47ADE1CEF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28855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473C7-5A2E-4EF8-B833-FEA47ADE1CEF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90857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5+ Minuten </a:t>
            </a:r>
          </a:p>
          <a:p>
            <a:endParaRPr lang="de-DE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>
                <a:sym typeface="Wingdings" panose="05000000000000000000" pitchFamily="2" charset="2"/>
              </a:rPr>
              <a:t></a:t>
            </a:r>
            <a:r>
              <a:rPr lang="de-DE" dirty="0"/>
              <a:t>Bisherige Forschungserkenntnisse, Publikationen, Beispiele aus der Forschungspraxi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473C7-5A2E-4EF8-B833-FEA47ADE1CEF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38066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473C7-5A2E-4EF8-B833-FEA47ADE1CEF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19941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1-2 Minuten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>
              <a:sym typeface="Wingdings" panose="05000000000000000000" pitchFamily="2" charset="2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1473C7-5A2E-4EF8-B833-FEA47ADE1CEF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39799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90291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19F4E97-5E0F-4117-8481-517CA622A2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29473" y="1043999"/>
            <a:ext cx="7560000" cy="5343424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 sz="28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20208627-D58B-46FD-B5A5-1074537F2AD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702526" y="2400299"/>
            <a:ext cx="2878873" cy="3987123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E677EE6-4412-4748-BA7A-3FBA60B9F9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/>
          <a:lstStyle/>
          <a:p>
            <a:fld id="{5466DDEF-6F62-4E10-A7D9-534B7EFA16E6}" type="slidenum">
              <a:rPr lang="de-DE" smtClean="0"/>
              <a:t>‹Nr.›</a:t>
            </a:fld>
            <a:endParaRPr lang="de-DE"/>
          </a:p>
        </p:txBody>
      </p:sp>
      <p:sp>
        <p:nvSpPr>
          <p:cNvPr id="13" name="Titel 1">
            <a:extLst>
              <a:ext uri="{FF2B5EF4-FFF2-40B4-BE49-F238E27FC236}">
                <a16:creationId xmlns:a16="http://schemas.microsoft.com/office/drawing/2014/main" id="{3041ADEF-4C3D-4E37-BD64-4F0180348E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1" y="1043999"/>
            <a:ext cx="2866794" cy="1159479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50190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8710AC-C681-4920-8FBC-B57443E849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FA6EA72-BF9F-4356-8531-C5E78C888C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907999"/>
            <a:ext cx="10800000" cy="4515025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  <a:lvl3pPr>
              <a:spcAft>
                <a:spcPts val="1200"/>
              </a:spcAft>
              <a:defRPr/>
            </a:lvl3pPr>
            <a:lvl4pPr>
              <a:spcAft>
                <a:spcPts val="1200"/>
              </a:spcAft>
              <a:defRPr/>
            </a:lvl4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871BA0-505C-4759-BD55-2D6E43C96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/>
          <a:lstStyle/>
          <a:p>
            <a:fld id="{5466DDEF-6F62-4E10-A7D9-534B7EFA16E6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33748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871BA0-505C-4759-BD55-2D6E43C96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/>
          <a:lstStyle/>
          <a:p>
            <a:fld id="{5466DDEF-6F62-4E10-A7D9-534B7EFA16E6}" type="slidenum">
              <a:rPr lang="de-DE" smtClean="0"/>
              <a:t>‹Nr.›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ABD8198-9523-4B37-847B-E44D41BC84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3125" y="4494489"/>
            <a:ext cx="1009649" cy="1613972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DD3F3C13-F723-4510-A564-7A8A5E3355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2653725"/>
            <a:ext cx="10800000" cy="630000"/>
          </a:xfrm>
        </p:spPr>
        <p:txBody>
          <a:bodyPr anchor="b">
            <a:noAutofit/>
          </a:bodyPr>
          <a:lstStyle>
            <a:lvl1pPr>
              <a:defRPr sz="54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FD298FC7-AA9F-4A80-ACA0-3E0405FF43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3574276"/>
            <a:ext cx="10800000" cy="1727199"/>
          </a:xfrm>
        </p:spPr>
        <p:txBody>
          <a:bodyPr>
            <a:normAutofit/>
          </a:bodyPr>
          <a:lstStyle>
            <a:lvl1pPr marL="36000" indent="0">
              <a:spcAft>
                <a:spcPts val="1200"/>
              </a:spcAft>
              <a:buFontTx/>
              <a:buNone/>
              <a:defRPr sz="2400"/>
            </a:lvl1pPr>
            <a:lvl2pPr marL="432000" indent="0">
              <a:spcAft>
                <a:spcPts val="1200"/>
              </a:spcAft>
              <a:buFontTx/>
              <a:buNone/>
              <a:defRPr/>
            </a:lvl2pPr>
            <a:lvl3pPr marL="891000" indent="0">
              <a:spcAft>
                <a:spcPts val="1200"/>
              </a:spcAft>
              <a:buFontTx/>
              <a:buNone/>
              <a:defRPr/>
            </a:lvl3pPr>
            <a:lvl4pPr marL="1371600" indent="0">
              <a:spcAft>
                <a:spcPts val="1200"/>
              </a:spcAft>
              <a:buFontTx/>
              <a:buNone/>
              <a:defRPr/>
            </a:lvl4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229869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8710AC-C681-4920-8FBC-B57443E849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FA6EA72-BF9F-4356-8531-C5E78C888C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60000" y="1907999"/>
            <a:ext cx="7560000" cy="4515025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  <a:lvl3pPr>
              <a:spcAft>
                <a:spcPts val="1200"/>
              </a:spcAft>
              <a:defRPr/>
            </a:lvl3pPr>
            <a:lvl4pPr>
              <a:spcAft>
                <a:spcPts val="1200"/>
              </a:spcAft>
              <a:defRPr/>
            </a:lvl4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871BA0-505C-4759-BD55-2D6E43C96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/>
          <a:lstStyle/>
          <a:p>
            <a:fld id="{5466DDEF-6F62-4E10-A7D9-534B7EFA16E6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0AC77603-CC06-4966-B47B-07E1433B4C4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 rot="21243668">
            <a:off x="953700" y="2614150"/>
            <a:ext cx="2401101" cy="2401101"/>
          </a:xfrm>
          <a:noFill/>
          <a:ln w="12700">
            <a:solidFill>
              <a:schemeClr val="bg1"/>
            </a:solidFill>
          </a:ln>
        </p:spPr>
        <p:txBody>
          <a:bodyPr lIns="900000" tIns="900000" rIns="900000" bIns="900000" anchor="ctr" anchorCtr="0">
            <a:normAutofit/>
          </a:bodyPr>
          <a:lstStyle>
            <a:lvl1pPr marL="36000" indent="0">
              <a:spcAft>
                <a:spcPts val="1200"/>
              </a:spcAft>
              <a:buNone/>
              <a:defRPr sz="2000"/>
            </a:lvl1pPr>
            <a:lvl2pPr>
              <a:spcAft>
                <a:spcPts val="1200"/>
              </a:spcAft>
              <a:defRPr/>
            </a:lvl2pPr>
            <a:lvl3pPr>
              <a:spcAft>
                <a:spcPts val="1200"/>
              </a:spcAft>
              <a:defRPr/>
            </a:lvl3pPr>
            <a:lvl4pPr>
              <a:spcAft>
                <a:spcPts val="1200"/>
              </a:spcAft>
              <a:defRPr/>
            </a:lvl4pPr>
          </a:lstStyle>
          <a:p>
            <a:pPr lvl="0"/>
            <a:r>
              <a:rPr lang="de-DE" dirty="0"/>
              <a:t>Bild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3B841581-5280-4E17-954F-233DDC46C2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242926">
            <a:off x="1348680" y="5033786"/>
            <a:ext cx="1352575" cy="903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712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8710AC-C681-4920-8FBC-B57443E849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FA6EA72-BF9F-4356-8531-C5E78C888C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1907999"/>
            <a:ext cx="7560000" cy="4515025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  <a:lvl3pPr>
              <a:spcAft>
                <a:spcPts val="1200"/>
              </a:spcAft>
              <a:defRPr/>
            </a:lvl3pPr>
            <a:lvl4pPr>
              <a:spcAft>
                <a:spcPts val="1200"/>
              </a:spcAft>
              <a:defRPr/>
            </a:lvl4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871BA0-505C-4759-BD55-2D6E43C96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/>
          <a:lstStyle/>
          <a:p>
            <a:fld id="{5466DDEF-6F62-4E10-A7D9-534B7EFA16E6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37712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F277F0-D619-425C-8C9F-8B81D869FC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/>
          <a:lstStyle/>
          <a:p>
            <a:fld id="{5466DDEF-6F62-4E10-A7D9-534B7EFA16E6}" type="slidenum">
              <a:rPr lang="de-DE" smtClean="0"/>
              <a:t>‹Nr.›</a:t>
            </a:fld>
            <a:endParaRPr lang="de-DE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2BE9B36A-A5D9-4EF4-B30E-0F496A6FA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044000"/>
            <a:ext cx="10800000" cy="630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085477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8710AC-C681-4920-8FBC-B57443E849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FA6EA72-BF9F-4356-8531-C5E78C888C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2068420"/>
            <a:ext cx="10800000" cy="4354605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  <a:lvl3pPr>
              <a:spcAft>
                <a:spcPts val="1200"/>
              </a:spcAft>
              <a:defRPr/>
            </a:lvl3pPr>
            <a:lvl4pPr>
              <a:spcAft>
                <a:spcPts val="1200"/>
              </a:spcAft>
              <a:defRPr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871BA0-505C-4759-BD55-2D6E43C96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/>
          <a:lstStyle/>
          <a:p>
            <a:fld id="{5466DDEF-6F62-4E10-A7D9-534B7EFA16E6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80644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CCA15FC-261A-43DC-9136-7C3FDBFE02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/>
          <a:lstStyle/>
          <a:p>
            <a:fld id="{5466DDEF-6F62-4E10-A7D9-534B7EFA16E6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890A06A1-3AFE-4775-8FE6-6D8523615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044000"/>
            <a:ext cx="10800000" cy="63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10FAE09D-08D4-40D1-8C78-F66BD05329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2543130"/>
            <a:ext cx="10799999" cy="387989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E8B56EBD-B0B3-467B-9CEC-AAA8E5FA1952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20001" y="1884126"/>
            <a:ext cx="10812892" cy="429204"/>
          </a:xfrm>
        </p:spPr>
        <p:txBody>
          <a:bodyPr>
            <a:noAutofit/>
          </a:bodyPr>
          <a:lstStyle>
            <a:lvl1pPr marL="18000" indent="0">
              <a:lnSpc>
                <a:spcPct val="100000"/>
              </a:lnSpc>
              <a:spcAft>
                <a:spcPts val="0"/>
              </a:spcAft>
              <a:buFontTx/>
              <a:buNone/>
              <a:defRPr sz="3200">
                <a:solidFill>
                  <a:srgbClr val="009ED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32000" indent="0">
              <a:lnSpc>
                <a:spcPct val="100000"/>
              </a:lnSpc>
              <a:spcAft>
                <a:spcPts val="0"/>
              </a:spcAft>
              <a:buFontTx/>
              <a:buNone/>
              <a:defRPr/>
            </a:lvl2pPr>
            <a:lvl3pPr marL="909000" indent="0">
              <a:lnSpc>
                <a:spcPct val="100000"/>
              </a:lnSpc>
              <a:spcAft>
                <a:spcPts val="0"/>
              </a:spcAft>
              <a:buFontTx/>
              <a:buNone/>
              <a:defRPr/>
            </a:lvl3pPr>
            <a:lvl4pPr marL="1384200" indent="0">
              <a:lnSpc>
                <a:spcPct val="100000"/>
              </a:lnSpc>
              <a:spcAft>
                <a:spcPts val="0"/>
              </a:spcAft>
              <a:buFontTx/>
              <a:buNone/>
              <a:defRPr/>
            </a:lvl4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541628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8710AC-C681-4920-8FBC-B57443E849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FA6EA72-BF9F-4356-8531-C5E78C888C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60000" y="2068420"/>
            <a:ext cx="7560000" cy="4354605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  <a:lvl3pPr>
              <a:spcAft>
                <a:spcPts val="1200"/>
              </a:spcAft>
              <a:defRPr/>
            </a:lvl3pPr>
            <a:lvl4pPr>
              <a:spcAft>
                <a:spcPts val="1200"/>
              </a:spcAft>
              <a:defRPr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871BA0-505C-4759-BD55-2D6E43C96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/>
          <a:lstStyle/>
          <a:p>
            <a:fld id="{5466DDEF-6F62-4E10-A7D9-534B7EFA16E6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789624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8710AC-C681-4920-8FBC-B57443E849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FA6EA72-BF9F-4356-8531-C5E78C888C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60000" y="2052378"/>
            <a:ext cx="7560000" cy="4370647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  <a:lvl3pPr>
              <a:spcAft>
                <a:spcPts val="1200"/>
              </a:spcAft>
              <a:defRPr/>
            </a:lvl3pPr>
            <a:lvl4pPr>
              <a:spcAft>
                <a:spcPts val="1200"/>
              </a:spcAft>
              <a:defRPr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871BA0-505C-4759-BD55-2D6E43C96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/>
          <a:lstStyle/>
          <a:p>
            <a:fld id="{5466DDEF-6F62-4E10-A7D9-534B7EFA16E6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0AC77603-CC06-4966-B47B-07E1433B4C4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 rot="21243668">
            <a:off x="953700" y="2614150"/>
            <a:ext cx="2401101" cy="2401101"/>
          </a:xfrm>
          <a:noFill/>
          <a:ln w="12700">
            <a:solidFill>
              <a:srgbClr val="009ED4"/>
            </a:solidFill>
          </a:ln>
        </p:spPr>
        <p:txBody>
          <a:bodyPr lIns="900000" tIns="900000" rIns="900000" bIns="900000" anchor="ctr" anchorCtr="0">
            <a:normAutofit/>
          </a:bodyPr>
          <a:lstStyle>
            <a:lvl1pPr marL="36000" indent="0">
              <a:spcAft>
                <a:spcPts val="1200"/>
              </a:spcAft>
              <a:buNone/>
              <a:defRPr sz="2000"/>
            </a:lvl1pPr>
            <a:lvl2pPr>
              <a:spcAft>
                <a:spcPts val="1200"/>
              </a:spcAft>
              <a:defRPr/>
            </a:lvl2pPr>
            <a:lvl3pPr>
              <a:spcAft>
                <a:spcPts val="1200"/>
              </a:spcAft>
              <a:defRPr/>
            </a:lvl3pPr>
            <a:lvl4pPr>
              <a:spcAft>
                <a:spcPts val="1200"/>
              </a:spcAft>
              <a:defRPr/>
            </a:lvl4pPr>
          </a:lstStyle>
          <a:p>
            <a:pPr lvl="0"/>
            <a:r>
              <a:rPr lang="de-DE" dirty="0"/>
              <a:t>Bild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E6D2A77-8947-49E7-B2D8-AFA0A3F05D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261589">
            <a:off x="1428404" y="5037447"/>
            <a:ext cx="1297467" cy="860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9060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8710AC-C681-4920-8FBC-B57443E849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FA6EA72-BF9F-4356-8531-C5E78C888C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999" y="2004252"/>
            <a:ext cx="7560000" cy="4418773"/>
          </a:xfrm>
        </p:spPr>
        <p:txBody>
          <a:bodyPr/>
          <a:lstStyle>
            <a:lvl1pPr>
              <a:spcAft>
                <a:spcPts val="1200"/>
              </a:spcAft>
              <a:defRPr/>
            </a:lvl1pPr>
            <a:lvl2pPr>
              <a:spcAft>
                <a:spcPts val="1200"/>
              </a:spcAft>
              <a:defRPr/>
            </a:lvl2pPr>
            <a:lvl3pPr>
              <a:spcAft>
                <a:spcPts val="1200"/>
              </a:spcAft>
              <a:defRPr/>
            </a:lvl3pPr>
            <a:lvl4pPr>
              <a:spcAft>
                <a:spcPts val="1200"/>
              </a:spcAft>
              <a:defRPr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F871BA0-505C-4759-BD55-2D6E43C96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/>
          <a:lstStyle/>
          <a:p>
            <a:fld id="{5466DDEF-6F62-4E10-A7D9-534B7EFA16E6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342633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F277F0-D619-425C-8C9F-8B81D869FC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/>
          <a:lstStyle/>
          <a:p>
            <a:fld id="{5466DDEF-6F62-4E10-A7D9-534B7EFA16E6}" type="slidenum">
              <a:rPr lang="de-DE" smtClean="0"/>
              <a:t>‹Nr.›</a:t>
            </a:fld>
            <a:endParaRPr lang="de-DE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2BE9B36A-A5D9-4EF4-B30E-0F496A6FA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044000"/>
            <a:ext cx="10800000" cy="63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428155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AF277F0-D619-425C-8C9F-8B81D869FC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/>
          <a:lstStyle/>
          <a:p>
            <a:fld id="{5466DDEF-6F62-4E10-A7D9-534B7EFA16E6}" type="slidenum">
              <a:rPr lang="de-DE" smtClean="0"/>
              <a:t>‹Nr.›</a:t>
            </a:fld>
            <a:endParaRPr lang="de-DE"/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2BE9B36A-A5D9-4EF4-B30E-0F496A6FA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044000"/>
            <a:ext cx="10800000" cy="63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B2044EDA-DEE1-4129-99ED-86908F5C5D39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720000" y="2495549"/>
            <a:ext cx="5220000" cy="39274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DDC0BAB6-0564-46CC-9E42-61CD026A7C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9300" y="2495549"/>
            <a:ext cx="5220000" cy="39274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1AD4C762-E9C7-47A7-A87F-6831D3E6F94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720001" y="1836000"/>
            <a:ext cx="10812892" cy="429204"/>
          </a:xfrm>
        </p:spPr>
        <p:txBody>
          <a:bodyPr>
            <a:normAutofit/>
          </a:bodyPr>
          <a:lstStyle>
            <a:lvl1pPr marL="18000" indent="0">
              <a:lnSpc>
                <a:spcPct val="100000"/>
              </a:lnSpc>
              <a:spcAft>
                <a:spcPts val="0"/>
              </a:spcAft>
              <a:buFontTx/>
              <a:buNone/>
              <a:defRPr sz="2800">
                <a:solidFill>
                  <a:srgbClr val="009ED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32000" indent="0">
              <a:lnSpc>
                <a:spcPct val="100000"/>
              </a:lnSpc>
              <a:spcAft>
                <a:spcPts val="0"/>
              </a:spcAft>
              <a:buFontTx/>
              <a:buNone/>
              <a:defRPr/>
            </a:lvl2pPr>
            <a:lvl3pPr marL="909000" indent="0">
              <a:lnSpc>
                <a:spcPct val="100000"/>
              </a:lnSpc>
              <a:spcAft>
                <a:spcPts val="0"/>
              </a:spcAft>
              <a:buFontTx/>
              <a:buNone/>
              <a:defRPr/>
            </a:lvl3pPr>
            <a:lvl4pPr marL="1384200" indent="0">
              <a:lnSpc>
                <a:spcPct val="100000"/>
              </a:lnSpc>
              <a:spcAft>
                <a:spcPts val="0"/>
              </a:spcAft>
              <a:buFontTx/>
              <a:buNone/>
              <a:defRPr/>
            </a:lvl4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85097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088D09B-695F-4B3E-8E4E-084C4F2B8A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D9C49DD-8B38-424F-B8CF-9807DF2C47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0000" y="2052378"/>
            <a:ext cx="5220000" cy="43706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0B6254C-4889-4504-BB8A-03E7C01CD0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9300" y="2052378"/>
            <a:ext cx="5220000" cy="437064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C612862-3FB0-413E-9337-D628C5157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/>
          <a:lstStyle/>
          <a:p>
            <a:fld id="{5466DDEF-6F62-4E10-A7D9-534B7EFA16E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80341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0">
            <a:extLst>
              <a:ext uri="{FF2B5EF4-FFF2-40B4-BE49-F238E27FC236}">
                <a16:creationId xmlns:a16="http://schemas.microsoft.com/office/drawing/2014/main" id="{17311994-15BF-4572-A146-C953A4C40474}"/>
              </a:ext>
            </a:extLst>
          </p:cNvPr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auto">
          <a:xfrm rot="20591200">
            <a:off x="11031733" y="6231206"/>
            <a:ext cx="1357845" cy="843199"/>
          </a:xfrm>
          <a:prstGeom prst="rect">
            <a:avLst/>
          </a:prstGeom>
          <a:solidFill>
            <a:srgbClr val="D4EDF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80000" tIns="180000" rIns="180000" bIns="180000" anchor="t" anchorCtr="0"/>
          <a:lstStyle>
            <a:lvl1pPr algn="ctr">
              <a:spcBef>
                <a:spcPct val="20000"/>
              </a:spcBef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1pPr>
            <a:lvl2pPr marL="742950" indent="-285750" algn="ctr">
              <a:spcBef>
                <a:spcPct val="20000"/>
              </a:spcBef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2pPr>
            <a:lvl3pPr marL="1143000" indent="-228600" algn="ctr">
              <a:spcBef>
                <a:spcPct val="20000"/>
              </a:spcBef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3pPr>
            <a:lvl4pPr marL="1600200" indent="-228600" algn="ctr">
              <a:spcBef>
                <a:spcPct val="20000"/>
              </a:spcBef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4pPr>
            <a:lvl5pPr marL="2057400" indent="-228600" algn="ctr">
              <a:spcBef>
                <a:spcPct val="20000"/>
              </a:spcBef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9pPr>
          </a:lstStyle>
          <a:p>
            <a:pPr algn="l" eaLnBrk="1" hangingPunct="1">
              <a:spcBef>
                <a:spcPct val="0"/>
              </a:spcBef>
              <a:buClrTx/>
            </a:pPr>
            <a:endParaRPr lang="de-DE" altLang="de-DE" sz="2400" dirty="0">
              <a:solidFill>
                <a:srgbClr val="D4F9ED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274DFE-1C05-4940-9046-D9CDD1627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044000"/>
            <a:ext cx="10800000" cy="63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F9A3797-B366-4DD6-98AB-FBD456BD54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1907999"/>
            <a:ext cx="10799999" cy="45150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9419CA-DD67-45C5-8145-FE97653A3F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 vert="horz" lIns="0" tIns="0" rIns="0" bIns="0" rtlCol="0" anchor="ctr" anchorCtr="1"/>
          <a:lstStyle>
            <a:lvl1pPr algn="r">
              <a:defRPr sz="12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5466DDEF-6F62-4E10-A7D9-534B7EFA16E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2199D4CB-111E-4DA1-8B53-6FD1D901EA97}"/>
              </a:ext>
            </a:extLst>
          </p:cNvPr>
          <p:cNvCxnSpPr>
            <a:cxnSpLocks/>
          </p:cNvCxnSpPr>
          <p:nvPr userDrawn="1"/>
        </p:nvCxnSpPr>
        <p:spPr>
          <a:xfrm>
            <a:off x="720000" y="630662"/>
            <a:ext cx="1080114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B5FED134-0FA9-44FD-88F6-418FF68C1D4B}"/>
              </a:ext>
            </a:extLst>
          </p:cNvPr>
          <p:cNvSpPr txBox="1">
            <a:spLocks/>
          </p:cNvSpPr>
          <p:nvPr userDrawn="1"/>
        </p:nvSpPr>
        <p:spPr>
          <a:xfrm>
            <a:off x="2620800" y="0"/>
            <a:ext cx="8899200" cy="5328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9ED4"/>
              </a:buClr>
              <a:buFont typeface="Wingdings" panose="05000000000000000000" pitchFamily="2" charset="2"/>
              <a:buNone/>
              <a:defRPr sz="1200" b="0" kern="120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9ED4"/>
              </a:buClr>
              <a:buFont typeface="Wingdings" panose="05000000000000000000" pitchFamily="2" charset="2"/>
              <a:buNone/>
              <a:defRPr sz="2000" b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None/>
              <a:defRPr sz="1800" b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dirty="0" err="1"/>
              <a:t>Meet</a:t>
            </a:r>
            <a:r>
              <a:rPr lang="de-DE" sz="1100" dirty="0"/>
              <a:t>-</a:t>
            </a:r>
            <a:r>
              <a:rPr lang="de-DE" sz="1100" dirty="0" err="1"/>
              <a:t>the</a:t>
            </a:r>
            <a:r>
              <a:rPr lang="de-DE" sz="1100" dirty="0"/>
              <a:t>-Data @Bildungsforschung</a:t>
            </a:r>
          </a:p>
        </p:txBody>
      </p:sp>
    </p:spTree>
    <p:extLst>
      <p:ext uri="{BB962C8B-B14F-4D97-AF65-F5344CB8AC3E}">
        <p14:creationId xmlns:p14="http://schemas.microsoft.com/office/powerpoint/2010/main" val="18192527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54" r:id="rId3"/>
    <p:sldLayoutId id="2147483658" r:id="rId4"/>
    <p:sldLayoutId id="2147483660" r:id="rId5"/>
    <p:sldLayoutId id="2147483650" r:id="rId6"/>
    <p:sldLayoutId id="2147483657" r:id="rId7"/>
    <p:sldLayoutId id="2147483653" r:id="rId8"/>
    <p:sldLayoutId id="2147483652" r:id="rId9"/>
    <p:sldLayoutId id="2147483656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396000" indent="-360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rgbClr val="009ED4"/>
        </a:buClr>
        <a:buFont typeface="Wingdings" panose="05000000000000000000" pitchFamily="2" charset="2"/>
        <a:buChar char="§"/>
        <a:defRPr sz="36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738000" indent="-30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rgbClr val="009ED4"/>
        </a:buClr>
        <a:buFont typeface="Wingdings" panose="05000000000000000000" pitchFamily="2" charset="2"/>
        <a:buChar char="§"/>
        <a:defRPr lang="de-DE" sz="3200" kern="1200" dirty="0" smtClean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bg1">
            <a:lumMod val="50000"/>
          </a:schemeClr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0">
            <a:extLst>
              <a:ext uri="{FF2B5EF4-FFF2-40B4-BE49-F238E27FC236}">
                <a16:creationId xmlns:a16="http://schemas.microsoft.com/office/drawing/2014/main" id="{17311994-15BF-4572-A146-C953A4C40474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 rot="20591200">
            <a:off x="11031733" y="6231206"/>
            <a:ext cx="1357845" cy="843199"/>
          </a:xfrm>
          <a:prstGeom prst="rect">
            <a:avLst/>
          </a:prstGeom>
          <a:solidFill>
            <a:srgbClr val="D4EDF9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80000" tIns="180000" rIns="180000" bIns="180000" anchor="t" anchorCtr="0"/>
          <a:lstStyle>
            <a:lvl1pPr algn="ctr">
              <a:spcBef>
                <a:spcPct val="20000"/>
              </a:spcBef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1pPr>
            <a:lvl2pPr marL="742950" indent="-285750" algn="ctr">
              <a:spcBef>
                <a:spcPct val="20000"/>
              </a:spcBef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2pPr>
            <a:lvl3pPr marL="1143000" indent="-228600" algn="ctr">
              <a:spcBef>
                <a:spcPct val="20000"/>
              </a:spcBef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3pPr>
            <a:lvl4pPr marL="1600200" indent="-228600" algn="ctr">
              <a:spcBef>
                <a:spcPct val="20000"/>
              </a:spcBef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4pPr>
            <a:lvl5pPr marL="2057400" indent="-228600" algn="ctr">
              <a:spcBef>
                <a:spcPct val="20000"/>
              </a:spcBef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5pPr>
            <a:lvl6pPr marL="25146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6pPr>
            <a:lvl7pPr marL="29718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7pPr>
            <a:lvl8pPr marL="34290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8pPr>
            <a:lvl9pPr marL="3886200" indent="-228600" algn="ctr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467D"/>
              </a:buClr>
              <a:defRPr sz="2000">
                <a:solidFill>
                  <a:schemeClr val="tx1"/>
                </a:solidFill>
                <a:latin typeface="Myriad Pro" pitchFamily="34" charset="0"/>
              </a:defRPr>
            </a:lvl9pPr>
          </a:lstStyle>
          <a:p>
            <a:pPr algn="l" eaLnBrk="1" hangingPunct="1">
              <a:spcBef>
                <a:spcPct val="0"/>
              </a:spcBef>
              <a:buClrTx/>
            </a:pPr>
            <a:endParaRPr lang="de-DE" altLang="de-DE" sz="2400" dirty="0">
              <a:solidFill>
                <a:srgbClr val="D4F9ED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91274DFE-1C05-4940-9046-D9CDD1627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044000"/>
            <a:ext cx="10800000" cy="63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F9A3797-B366-4DD6-98AB-FBD456BD54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999" y="1907999"/>
            <a:ext cx="10799999" cy="45150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89419CA-DD67-45C5-8145-FE97653A3F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 vert="horz" lIns="0" tIns="0" rIns="0" bIns="0" rtlCol="0" anchor="ctr" anchorCtr="1"/>
          <a:lstStyle>
            <a:lvl1pPr algn="r">
              <a:defRPr sz="120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fld id="{5466DDEF-6F62-4E10-A7D9-534B7EFA16E6}" type="slidenum">
              <a:rPr lang="de-DE" smtClean="0"/>
              <a:pPr/>
              <a:t>‹Nr.›</a:t>
            </a:fld>
            <a:endParaRPr lang="de-DE" dirty="0"/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2199D4CB-111E-4DA1-8B53-6FD1D901EA97}"/>
              </a:ext>
            </a:extLst>
          </p:cNvPr>
          <p:cNvCxnSpPr>
            <a:cxnSpLocks/>
          </p:cNvCxnSpPr>
          <p:nvPr userDrawn="1"/>
        </p:nvCxnSpPr>
        <p:spPr>
          <a:xfrm>
            <a:off x="720000" y="630662"/>
            <a:ext cx="1080114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72F4C17D-1D29-4BF0-9838-659FD15840A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999" y="75036"/>
            <a:ext cx="1884053" cy="438626"/>
          </a:xfrm>
          <a:prstGeom prst="rect">
            <a:avLst/>
          </a:prstGeom>
        </p:spPr>
      </p:pic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358C9519-D4F1-40A6-9436-91A69EE77BD0}"/>
              </a:ext>
            </a:extLst>
          </p:cNvPr>
          <p:cNvCxnSpPr>
            <a:cxnSpLocks/>
          </p:cNvCxnSpPr>
          <p:nvPr userDrawn="1"/>
        </p:nvCxnSpPr>
        <p:spPr>
          <a:xfrm>
            <a:off x="720000" y="630662"/>
            <a:ext cx="1080114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AA9D09E-918F-4AEA-8C62-AB6300F25C96}"/>
              </a:ext>
            </a:extLst>
          </p:cNvPr>
          <p:cNvSpPr txBox="1">
            <a:spLocks/>
          </p:cNvSpPr>
          <p:nvPr userDrawn="1"/>
        </p:nvSpPr>
        <p:spPr>
          <a:xfrm>
            <a:off x="2620800" y="0"/>
            <a:ext cx="8899200" cy="5328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9ED4"/>
              </a:buClr>
              <a:buFont typeface="Wingdings" panose="05000000000000000000" pitchFamily="2" charset="2"/>
              <a:buNone/>
              <a:defRPr sz="1200" b="0" kern="120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9ED4"/>
              </a:buClr>
              <a:buFont typeface="Wingdings" panose="05000000000000000000" pitchFamily="2" charset="2"/>
              <a:buNone/>
              <a:defRPr sz="2000" b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None/>
              <a:defRPr sz="1800" b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dirty="0" err="1">
                <a:solidFill>
                  <a:schemeClr val="bg1"/>
                </a:solidFill>
              </a:rPr>
              <a:t>Meet</a:t>
            </a:r>
            <a:r>
              <a:rPr lang="de-DE" sz="1100" dirty="0">
                <a:solidFill>
                  <a:schemeClr val="bg1"/>
                </a:solidFill>
              </a:rPr>
              <a:t>-</a:t>
            </a:r>
            <a:r>
              <a:rPr lang="de-DE" sz="1100" dirty="0" err="1">
                <a:solidFill>
                  <a:schemeClr val="bg1"/>
                </a:solidFill>
              </a:rPr>
              <a:t>the</a:t>
            </a:r>
            <a:r>
              <a:rPr lang="de-DE" sz="1100" dirty="0">
                <a:solidFill>
                  <a:schemeClr val="bg1"/>
                </a:solidFill>
              </a:rPr>
              <a:t>-Data @Bildungsforschung</a:t>
            </a:r>
          </a:p>
        </p:txBody>
      </p:sp>
    </p:spTree>
    <p:extLst>
      <p:ext uri="{BB962C8B-B14F-4D97-AF65-F5344CB8AC3E}">
        <p14:creationId xmlns:p14="http://schemas.microsoft.com/office/powerpoint/2010/main" val="243135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5" r:id="rId3"/>
    <p:sldLayoutId id="2147483666" r:id="rId4"/>
    <p:sldLayoutId id="2147483672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bg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396000" indent="-360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bg1"/>
        </a:buClr>
        <a:buFont typeface="Wingdings" panose="05000000000000000000" pitchFamily="2" charset="2"/>
        <a:buChar char="§"/>
        <a:defRPr sz="36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738000" indent="-306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bg1"/>
        </a:buClr>
        <a:buFont typeface="Wingdings" panose="05000000000000000000" pitchFamily="2" charset="2"/>
        <a:buChar char="§"/>
        <a:defRPr lang="de-DE" sz="3200" kern="1200" dirty="0" smtClean="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bg1"/>
        </a:buClr>
        <a:buFont typeface="Wingdings" panose="05000000000000000000" pitchFamily="2" charset="2"/>
        <a:buChar char="§"/>
        <a:defRPr sz="28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Clr>
          <a:schemeClr val="bg1"/>
        </a:buClr>
        <a:buFont typeface="Wingdings" panose="05000000000000000000" pitchFamily="2" charset="2"/>
        <a:buChar char="§"/>
        <a:defRPr sz="2400" kern="1200">
          <a:solidFill>
            <a:schemeClr val="bg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jpe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hyperlink" Target="https://www.oecd.org/skills/piaac/data/" TargetMode="External"/><Relationship Id="rId7" Type="http://schemas.microsoft.com/office/2007/relationships/hdphoto" Target="../media/hdphoto3.wdp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6.png"/><Relationship Id="rId11" Type="http://schemas.openxmlformats.org/officeDocument/2006/relationships/hyperlink" Target="https://www.youtube.com/playlist?list=PLv4AV-dc1b8WKKheCn7IUTLBeJ4TrwCfr" TargetMode="External"/><Relationship Id="rId5" Type="http://schemas.openxmlformats.org/officeDocument/2006/relationships/image" Target="../media/image1.png"/><Relationship Id="rId10" Type="http://schemas.openxmlformats.org/officeDocument/2006/relationships/hyperlink" Target="https://www.gesis.org/piaac/fdz/methodische-hinweise/piaac-scripts-1" TargetMode="External"/><Relationship Id="rId4" Type="http://schemas.openxmlformats.org/officeDocument/2006/relationships/hyperlink" Target="https://www.gesis.org/piaac/fdz" TargetMode="External"/><Relationship Id="rId9" Type="http://schemas.openxmlformats.org/officeDocument/2006/relationships/hyperlink" Target="https://link.springer.com/chapter/10.1007/978-3-030-47515-4" TargetMode="Externa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10" Type="http://schemas.openxmlformats.org/officeDocument/2006/relationships/image" Target="../media/image70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69.sv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doi.org/10.21241/ssoar.85816" TargetMode="External"/><Relationship Id="rId3" Type="http://schemas.openxmlformats.org/officeDocument/2006/relationships/hyperlink" Target="https://doi.org/10.1371/journal.pone.0215971" TargetMode="External"/><Relationship Id="rId7" Type="http://schemas.openxmlformats.org/officeDocument/2006/relationships/hyperlink" Target="https://doi.org/10.1007/978-3-030-47515-4_1" TargetMode="External"/><Relationship Id="rId2" Type="http://schemas.openxmlformats.org/officeDocument/2006/relationships/hyperlink" Target="https://doi.org/10.1787/864d2484-en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ssoar.info/ssoar/handle/document/85846.2" TargetMode="External"/><Relationship Id="rId11" Type="http://schemas.openxmlformats.org/officeDocument/2006/relationships/image" Target="../media/image70.png"/><Relationship Id="rId5" Type="http://schemas.openxmlformats.org/officeDocument/2006/relationships/hyperlink" Target="https://doi.org/10.3368/jhr.54.4.0317.8619R1" TargetMode="External"/><Relationship Id="rId10" Type="http://schemas.openxmlformats.org/officeDocument/2006/relationships/image" Target="../media/image72.svg"/><Relationship Id="rId4" Type="http://schemas.openxmlformats.org/officeDocument/2006/relationships/hyperlink" Target="https://doi.org/10.4232/1.12925" TargetMode="External"/><Relationship Id="rId9" Type="http://schemas.openxmlformats.org/officeDocument/2006/relationships/image" Target="../media/image7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hyperlink" Target="https://doi.org/10.5771/0038-6073-2022-1-169" TargetMode="External"/><Relationship Id="rId7" Type="http://schemas.openxmlformats.org/officeDocument/2006/relationships/hyperlink" Target="https://doi.org/10.4232/1.12660" TargetMode="External"/><Relationship Id="rId2" Type="http://schemas.openxmlformats.org/officeDocument/2006/relationships/hyperlink" Target="https://doi.org/10.5334/jopd.74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nbn-resolving.org/urn:nbn:de:0168-ssoar-360687" TargetMode="External"/><Relationship Id="rId5" Type="http://schemas.openxmlformats.org/officeDocument/2006/relationships/hyperlink" Target="https://doi.org/10.1787/4bc2342d-en" TargetMode="External"/><Relationship Id="rId10" Type="http://schemas.openxmlformats.org/officeDocument/2006/relationships/image" Target="../media/image70.png"/><Relationship Id="rId4" Type="http://schemas.openxmlformats.org/officeDocument/2006/relationships/hyperlink" Target="https://doi.org/10.1787/1f029d8f-e" TargetMode="External"/><Relationship Id="rId9" Type="http://schemas.openxmlformats.org/officeDocument/2006/relationships/image" Target="../media/image72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hyperlink" Target="https://www.gesis.org/piaac/fdz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0.png"/><Relationship Id="rId5" Type="http://schemas.openxmlformats.org/officeDocument/2006/relationships/image" Target="../media/image23.png"/><Relationship Id="rId4" Type="http://schemas.openxmlformats.org/officeDocument/2006/relationships/image" Target="../media/image74.sv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hyperlink" Target="https://www.gesis.org/piaac/fdz" TargetMode="Externa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18" Type="http://schemas.openxmlformats.org/officeDocument/2006/relationships/image" Target="../media/image26.png"/><Relationship Id="rId26" Type="http://schemas.openxmlformats.org/officeDocument/2006/relationships/image" Target="../media/image34.png"/><Relationship Id="rId39" Type="http://schemas.openxmlformats.org/officeDocument/2006/relationships/image" Target="../media/image47.png"/><Relationship Id="rId3" Type="http://schemas.openxmlformats.org/officeDocument/2006/relationships/image" Target="../media/image11.png"/><Relationship Id="rId21" Type="http://schemas.openxmlformats.org/officeDocument/2006/relationships/image" Target="../media/image29.png"/><Relationship Id="rId34" Type="http://schemas.openxmlformats.org/officeDocument/2006/relationships/image" Target="../media/image42.png"/><Relationship Id="rId42" Type="http://schemas.openxmlformats.org/officeDocument/2006/relationships/image" Target="../media/image50.png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17" Type="http://schemas.openxmlformats.org/officeDocument/2006/relationships/image" Target="../media/image25.png"/><Relationship Id="rId25" Type="http://schemas.openxmlformats.org/officeDocument/2006/relationships/image" Target="../media/image33.png"/><Relationship Id="rId33" Type="http://schemas.openxmlformats.org/officeDocument/2006/relationships/image" Target="../media/image41.png"/><Relationship Id="rId38" Type="http://schemas.openxmlformats.org/officeDocument/2006/relationships/image" Target="../media/image46.png"/><Relationship Id="rId2" Type="http://schemas.openxmlformats.org/officeDocument/2006/relationships/image" Target="../media/image10.png"/><Relationship Id="rId16" Type="http://schemas.openxmlformats.org/officeDocument/2006/relationships/image" Target="../media/image24.png"/><Relationship Id="rId20" Type="http://schemas.openxmlformats.org/officeDocument/2006/relationships/image" Target="../media/image28.png"/><Relationship Id="rId29" Type="http://schemas.openxmlformats.org/officeDocument/2006/relationships/image" Target="../media/image37.png"/><Relationship Id="rId41" Type="http://schemas.openxmlformats.org/officeDocument/2006/relationships/image" Target="../media/image4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24" Type="http://schemas.openxmlformats.org/officeDocument/2006/relationships/image" Target="../media/image32.png"/><Relationship Id="rId32" Type="http://schemas.openxmlformats.org/officeDocument/2006/relationships/image" Target="../media/image40.png"/><Relationship Id="rId37" Type="http://schemas.openxmlformats.org/officeDocument/2006/relationships/image" Target="../media/image45.png"/><Relationship Id="rId40" Type="http://schemas.openxmlformats.org/officeDocument/2006/relationships/image" Target="../media/image48.png"/><Relationship Id="rId5" Type="http://schemas.openxmlformats.org/officeDocument/2006/relationships/image" Target="../media/image13.png"/><Relationship Id="rId15" Type="http://schemas.openxmlformats.org/officeDocument/2006/relationships/image" Target="../media/image23.png"/><Relationship Id="rId23" Type="http://schemas.openxmlformats.org/officeDocument/2006/relationships/image" Target="../media/image31.png"/><Relationship Id="rId28" Type="http://schemas.openxmlformats.org/officeDocument/2006/relationships/image" Target="../media/image36.png"/><Relationship Id="rId36" Type="http://schemas.openxmlformats.org/officeDocument/2006/relationships/image" Target="../media/image44.png"/><Relationship Id="rId10" Type="http://schemas.openxmlformats.org/officeDocument/2006/relationships/image" Target="../media/image18.png"/><Relationship Id="rId19" Type="http://schemas.openxmlformats.org/officeDocument/2006/relationships/image" Target="../media/image27.png"/><Relationship Id="rId31" Type="http://schemas.openxmlformats.org/officeDocument/2006/relationships/image" Target="../media/image39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Relationship Id="rId14" Type="http://schemas.openxmlformats.org/officeDocument/2006/relationships/image" Target="../media/image22.png"/><Relationship Id="rId22" Type="http://schemas.openxmlformats.org/officeDocument/2006/relationships/image" Target="../media/image30.png"/><Relationship Id="rId27" Type="http://schemas.openxmlformats.org/officeDocument/2006/relationships/image" Target="../media/image35.png"/><Relationship Id="rId30" Type="http://schemas.openxmlformats.org/officeDocument/2006/relationships/image" Target="../media/image38.png"/><Relationship Id="rId35" Type="http://schemas.openxmlformats.org/officeDocument/2006/relationships/image" Target="../media/image43.png"/><Relationship Id="rId43" Type="http://schemas.openxmlformats.org/officeDocument/2006/relationships/image" Target="../media/image5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hyperlink" Target="https://www.oecd.org/skills/piaac/data/" TargetMode="Externa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image" Target="../media/image78.png"/><Relationship Id="rId7" Type="http://schemas.openxmlformats.org/officeDocument/2006/relationships/diagramLayout" Target="../diagrams/layout3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3.xml"/><Relationship Id="rId5" Type="http://schemas.openxmlformats.org/officeDocument/2006/relationships/hyperlink" Target="https://www.gesis.org/fileadmin/piaac/Downloadbereich/TechnicalReport-ebook.pdf" TargetMode="External"/><Relationship Id="rId10" Type="http://schemas.microsoft.com/office/2007/relationships/diagramDrawing" Target="../diagrams/drawing3.xml"/><Relationship Id="rId4" Type="http://schemas.openxmlformats.org/officeDocument/2006/relationships/image" Target="../media/image79.svg"/><Relationship Id="rId9" Type="http://schemas.openxmlformats.org/officeDocument/2006/relationships/diagramColors" Target="../diagrams/colors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5334/jopd.74" TargetMode="External"/><Relationship Id="rId2" Type="http://schemas.openxmlformats.org/officeDocument/2006/relationships/hyperlink" Target="https://doi.org/10.5771/0038-6073-2022-1-169" TargetMode="Externa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3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10" Type="http://schemas.microsoft.com/office/2007/relationships/hdphoto" Target="../media/hdphoto1.wdp"/><Relationship Id="rId4" Type="http://schemas.openxmlformats.org/officeDocument/2006/relationships/diagramLayout" Target="../diagrams/layout1.xml"/><Relationship Id="rId9" Type="http://schemas.openxmlformats.org/officeDocument/2006/relationships/image" Target="../media/image6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3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png"/><Relationship Id="rId3" Type="http://schemas.openxmlformats.org/officeDocument/2006/relationships/hyperlink" Target="https://www.oecd.org/skills/piaac/publications/Skills_Matter_Additonal_Results_from_the_Survey_of_Adult_Skills_ENG.pdf" TargetMode="External"/><Relationship Id="rId7" Type="http://schemas.microsoft.com/office/2007/relationships/hdphoto" Target="../media/hdphoto2.wdp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5.png"/><Relationship Id="rId5" Type="http://schemas.openxmlformats.org/officeDocument/2006/relationships/hyperlink" Target="https://www.gesis.org/piaac/fdz/workshops/online-tutorial-overview-piaac-research" TargetMode="External"/><Relationship Id="rId4" Type="http://schemas.openxmlformats.org/officeDocument/2006/relationships/hyperlink" Target="https://www.ssoar.info/ssoar/handle/document/85816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>
            <a:extLst>
              <a:ext uri="{FF2B5EF4-FFF2-40B4-BE49-F238E27FC236}">
                <a16:creationId xmlns:a16="http://schemas.microsoft.com/office/drawing/2014/main" id="{88B3F3CC-5BB2-40C3-9E67-BF9F84DFE657}"/>
              </a:ext>
            </a:extLst>
          </p:cNvPr>
          <p:cNvSpPr/>
          <p:nvPr/>
        </p:nvSpPr>
        <p:spPr>
          <a:xfrm>
            <a:off x="1595155" y="3271706"/>
            <a:ext cx="3834601" cy="96905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7A25A4CE-C580-4B44-88CB-C974313160A2}"/>
              </a:ext>
            </a:extLst>
          </p:cNvPr>
          <p:cNvSpPr>
            <a:spLocks noGrp="1"/>
          </p:cNvSpPr>
          <p:nvPr>
            <p:ph type="body" idx="4294967295"/>
          </p:nvPr>
        </p:nvSpPr>
        <p:spPr>
          <a:xfrm>
            <a:off x="1900601" y="3357201"/>
            <a:ext cx="3343276" cy="750437"/>
          </a:xfrm>
        </p:spPr>
        <p:txBody>
          <a:bodyPr>
            <a:normAutofit lnSpcReduction="10000"/>
          </a:bodyPr>
          <a:lstStyle/>
          <a:p>
            <a:pPr marL="36000" indent="0">
              <a:lnSpc>
                <a:spcPct val="110000"/>
              </a:lnSpc>
              <a:buNone/>
            </a:pPr>
            <a:r>
              <a:rPr lang="de-DE" sz="2400" dirty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19. Oktober 2023,</a:t>
            </a:r>
            <a:br>
              <a:rPr lang="de-DE" sz="2400" dirty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de-DE" sz="2400" dirty="0">
                <a:solidFill>
                  <a:schemeClr val="accent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13:15–14:00 Uhr, online</a:t>
            </a:r>
          </a:p>
        </p:txBody>
      </p:sp>
      <p:sp>
        <p:nvSpPr>
          <p:cNvPr id="10" name="Titel 8">
            <a:extLst>
              <a:ext uri="{FF2B5EF4-FFF2-40B4-BE49-F238E27FC236}">
                <a16:creationId xmlns:a16="http://schemas.microsoft.com/office/drawing/2014/main" id="{C96A5EF7-8F6A-480D-B936-54B69792275A}"/>
              </a:ext>
            </a:extLst>
          </p:cNvPr>
          <p:cNvSpPr txBox="1">
            <a:spLocks/>
          </p:cNvSpPr>
          <p:nvPr/>
        </p:nvSpPr>
        <p:spPr>
          <a:xfrm>
            <a:off x="462298" y="1568565"/>
            <a:ext cx="6240506" cy="149511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de-DE" sz="4300" dirty="0"/>
              <a:t> </a:t>
            </a:r>
            <a:r>
              <a:rPr lang="de-DE" sz="6500" dirty="0" err="1">
                <a:solidFill>
                  <a:schemeClr val="accent1"/>
                </a:solidFill>
              </a:rPr>
              <a:t>Meet</a:t>
            </a:r>
            <a:r>
              <a:rPr lang="de-DE" sz="6500" dirty="0">
                <a:solidFill>
                  <a:schemeClr val="accent1"/>
                </a:solidFill>
              </a:rPr>
              <a:t>-</a:t>
            </a:r>
            <a:r>
              <a:rPr lang="de-DE" sz="6500" dirty="0" err="1">
                <a:solidFill>
                  <a:schemeClr val="accent1"/>
                </a:solidFill>
              </a:rPr>
              <a:t>the</a:t>
            </a:r>
            <a:r>
              <a:rPr lang="de-DE" sz="6500" dirty="0">
                <a:solidFill>
                  <a:schemeClr val="accent1"/>
                </a:solidFill>
              </a:rPr>
              <a:t>-Data</a:t>
            </a:r>
            <a:br>
              <a:rPr lang="de-DE" dirty="0">
                <a:solidFill>
                  <a:schemeClr val="accent1"/>
                </a:solidFill>
              </a:rPr>
            </a:br>
            <a:r>
              <a:rPr lang="de-DE" dirty="0">
                <a:solidFill>
                  <a:schemeClr val="accent1"/>
                </a:solidFill>
              </a:rPr>
              <a:t>        </a:t>
            </a:r>
            <a:r>
              <a:rPr lang="de-DE" sz="4300" i="1" dirty="0">
                <a:solidFill>
                  <a:schemeClr val="accent1"/>
                </a:solidFill>
                <a:latin typeface="+mn-lt"/>
              </a:rPr>
              <a:t>@Bildungsforschung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6CB8C14E-1FB5-4FA1-9EF2-09B54F51FF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5617" y="3271706"/>
            <a:ext cx="4523068" cy="287114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983B010C-478E-499A-A1A1-F7E7B891689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960" y="5759724"/>
            <a:ext cx="1057586" cy="76625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A239F423-F625-4F97-9D7D-5E3023E3CE4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3706" y="429750"/>
            <a:ext cx="2091467" cy="1051567"/>
          </a:xfrm>
          <a:prstGeom prst="rect">
            <a:avLst/>
          </a:prstGeom>
        </p:spPr>
      </p:pic>
      <p:pic>
        <p:nvPicPr>
          <p:cNvPr id="14" name="Picture 2" descr="Logo Forschungsdaten Bildung">
            <a:extLst>
              <a:ext uri="{FF2B5EF4-FFF2-40B4-BE49-F238E27FC236}">
                <a16:creationId xmlns:a16="http://schemas.microsoft.com/office/drawing/2014/main" id="{F65B375E-9BF3-4CD3-B090-4435602A91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7192" y="621461"/>
            <a:ext cx="2300714" cy="537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A5693848-B684-4D39-B92E-B8FC9A967DA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377" y="6023052"/>
            <a:ext cx="1057586" cy="668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5081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7D6E337-8398-4725-BA1D-340F871316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66DDEF-6F62-4E10-A7D9-534B7EFA16E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664E938A-BD4A-46D4-9520-45DEDB6068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zugang &amp; Datennutzung </a:t>
            </a:r>
          </a:p>
        </p:txBody>
      </p:sp>
    </p:spTree>
    <p:extLst>
      <p:ext uri="{BB962C8B-B14F-4D97-AF65-F5344CB8AC3E}">
        <p14:creationId xmlns:p14="http://schemas.microsoft.com/office/powerpoint/2010/main" val="4023138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8CABBE59-5D21-F446-C4C2-2ACB6C41E8EC}"/>
              </a:ext>
            </a:extLst>
          </p:cNvPr>
          <p:cNvSpPr txBox="1">
            <a:spLocks/>
          </p:cNvSpPr>
          <p:nvPr/>
        </p:nvSpPr>
        <p:spPr>
          <a:xfrm>
            <a:off x="720000" y="2182585"/>
            <a:ext cx="6491786" cy="12464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96000" indent="-36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9ED4"/>
              </a:buClr>
              <a:buFont typeface="Wingdings" panose="05000000000000000000" pitchFamily="2" charset="2"/>
              <a:buChar char="§"/>
              <a:defRPr sz="3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738000" indent="-30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9ED4"/>
              </a:buClr>
              <a:buFont typeface="Wingdings" panose="05000000000000000000" pitchFamily="2" charset="2"/>
              <a:buChar char="§"/>
              <a:defRPr lang="de-DE" sz="3200" kern="1200" dirty="0" smtClean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6050" indent="-285750">
              <a:lnSpc>
                <a:spcPct val="90000"/>
              </a:lnSpc>
            </a:pPr>
            <a:r>
              <a:rPr lang="en-US" sz="1600" b="1" dirty="0">
                <a:latin typeface="+mn-lt"/>
                <a:cs typeface="+mn-cs"/>
                <a:sym typeface="Wingdings" panose="05000000000000000000" pitchFamily="2" charset="2"/>
              </a:rPr>
              <a:t>P</a:t>
            </a: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</a:rPr>
              <a:t>ublic </a:t>
            </a:r>
            <a:r>
              <a:rPr lang="en-US" sz="1600" b="1" dirty="0">
                <a:latin typeface="+mn-lt"/>
                <a:cs typeface="+mn-cs"/>
                <a:sym typeface="Wingdings" panose="05000000000000000000" pitchFamily="2" charset="2"/>
              </a:rPr>
              <a:t>U</a:t>
            </a: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</a:rPr>
              <a:t>se </a:t>
            </a:r>
            <a:r>
              <a:rPr lang="en-US" sz="1600" b="1" dirty="0">
                <a:latin typeface="+mn-lt"/>
                <a:cs typeface="+mn-cs"/>
                <a:sym typeface="Wingdings" panose="05000000000000000000" pitchFamily="2" charset="2"/>
              </a:rPr>
              <a:t>F</a:t>
            </a: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</a:rPr>
              <a:t>iles </a:t>
            </a:r>
            <a:r>
              <a:rPr lang="en-US" sz="1600" dirty="0" err="1">
                <a:latin typeface="+mn-lt"/>
                <a:cs typeface="+mn-cs"/>
                <a:sym typeface="Wingdings" panose="05000000000000000000" pitchFamily="2" charset="2"/>
              </a:rPr>
              <a:t>unter</a:t>
            </a: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</a:rPr>
              <a:t> </a:t>
            </a: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oecd.org/skills/piaac/data/</a:t>
            </a: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</a:rPr>
              <a:t> </a:t>
            </a:r>
          </a:p>
          <a:p>
            <a:pPr marL="150300" indent="0">
              <a:lnSpc>
                <a:spcPct val="90000"/>
              </a:lnSpc>
              <a:buNone/>
            </a:pP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</a:rPr>
              <a:t>     [Open Access] </a:t>
            </a:r>
          </a:p>
          <a:p>
            <a:pPr marL="436050" indent="-285750">
              <a:lnSpc>
                <a:spcPct val="90000"/>
              </a:lnSpc>
            </a:pPr>
            <a:r>
              <a:rPr lang="en-US" sz="1600" b="1" dirty="0">
                <a:latin typeface="+mn-lt"/>
                <a:cs typeface="+mn-cs"/>
                <a:sym typeface="Wingdings" panose="05000000000000000000" pitchFamily="2" charset="2"/>
              </a:rPr>
              <a:t>S</a:t>
            </a: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</a:rPr>
              <a:t>cientific </a:t>
            </a:r>
            <a:r>
              <a:rPr lang="en-US" sz="1600" b="1" dirty="0">
                <a:latin typeface="+mn-lt"/>
                <a:cs typeface="+mn-cs"/>
                <a:sym typeface="Wingdings" panose="05000000000000000000" pitchFamily="2" charset="2"/>
              </a:rPr>
              <a:t>U</a:t>
            </a: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</a:rPr>
              <a:t>se </a:t>
            </a:r>
            <a:r>
              <a:rPr lang="en-US" sz="1600" b="1" dirty="0">
                <a:latin typeface="+mn-lt"/>
                <a:cs typeface="+mn-cs"/>
                <a:sym typeface="Wingdings" panose="05000000000000000000" pitchFamily="2" charset="2"/>
              </a:rPr>
              <a:t>F</a:t>
            </a: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</a:rPr>
              <a:t>iles </a:t>
            </a:r>
            <a:r>
              <a:rPr lang="en-US" sz="1600" dirty="0" err="1">
                <a:latin typeface="+mn-lt"/>
                <a:cs typeface="+mn-cs"/>
                <a:sym typeface="Wingdings" panose="05000000000000000000" pitchFamily="2" charset="2"/>
              </a:rPr>
              <a:t>unter</a:t>
            </a: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</a:rPr>
              <a:t> </a:t>
            </a: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gesis.org/piaac/fdz</a:t>
            </a: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</a:rPr>
              <a:t> [</a:t>
            </a:r>
            <a:r>
              <a:rPr lang="en-US" sz="1600" dirty="0" err="1">
                <a:latin typeface="+mn-lt"/>
                <a:cs typeface="+mn-cs"/>
                <a:sym typeface="Wingdings" panose="05000000000000000000" pitchFamily="2" charset="2"/>
              </a:rPr>
              <a:t>Datennutzungsvertrag</a:t>
            </a: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</a:rPr>
              <a:t>]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5C15A60-43CE-4235-A3ED-B6813D0D5C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45238" y="6356350"/>
            <a:ext cx="54864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R="0" lvl="0" indent="0" fontAlgn="auto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5466DDEF-6F62-4E10-A7D9-534B7EFA16E6}" type="slidenum">
              <a:rPr kumimoji="0" lang="en-US" b="0" i="0" u="none" strike="noStrike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cs typeface="+mn-cs"/>
              </a:rPr>
              <a:pPr marR="0" lvl="0" indent="0" fontAlgn="auto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b="0" i="0" u="none" strike="noStrike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E98462B3-7E31-0C1F-6236-31FF64376115}"/>
              </a:ext>
            </a:extLst>
          </p:cNvPr>
          <p:cNvSpPr txBox="1">
            <a:spLocks/>
          </p:cNvSpPr>
          <p:nvPr/>
        </p:nvSpPr>
        <p:spPr>
          <a:xfrm>
            <a:off x="720000" y="1044000"/>
            <a:ext cx="10800000" cy="630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de-DE" dirty="0"/>
              <a:t>Datenzugang &amp; Datennutzung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1F9DF419-C70B-F1B8-1FCC-5CDBFE63D42B}"/>
              </a:ext>
            </a:extLst>
          </p:cNvPr>
          <p:cNvGrpSpPr/>
          <p:nvPr/>
        </p:nvGrpSpPr>
        <p:grpSpPr>
          <a:xfrm>
            <a:off x="6817360" y="1260177"/>
            <a:ext cx="5277101" cy="4819494"/>
            <a:chOff x="6817360" y="1260177"/>
            <a:chExt cx="5277101" cy="4819494"/>
          </a:xfrm>
        </p:grpSpPr>
        <p:pic>
          <p:nvPicPr>
            <p:cNvPr id="14" name="Picture 4">
              <a:extLst>
                <a:ext uri="{FF2B5EF4-FFF2-40B4-BE49-F238E27FC236}">
                  <a16:creationId xmlns:a16="http://schemas.microsoft.com/office/drawing/2014/main" id="{5BB0DA16-7209-596F-DCD5-F0C60E52D9E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 rot="21600000">
              <a:off x="7818345" y="5078186"/>
              <a:ext cx="1509282" cy="100148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 cap="flat">
                  <a:solidFill>
                    <a:srgbClr val="3465A4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sp>
          <p:nvSpPr>
            <p:cNvPr id="29" name="Ellipse 28">
              <a:extLst>
                <a:ext uri="{FF2B5EF4-FFF2-40B4-BE49-F238E27FC236}">
                  <a16:creationId xmlns:a16="http://schemas.microsoft.com/office/drawing/2014/main" id="{CD182AEC-408C-76C8-CB76-C23852B3EAED}"/>
                </a:ext>
              </a:extLst>
            </p:cNvPr>
            <p:cNvSpPr/>
            <p:nvPr/>
          </p:nvSpPr>
          <p:spPr>
            <a:xfrm>
              <a:off x="6817360" y="2219579"/>
              <a:ext cx="2899706" cy="2899430"/>
            </a:xfrm>
            <a:prstGeom prst="ellipse">
              <a:avLst/>
            </a:prstGeom>
            <a:solidFill>
              <a:srgbClr val="D4ED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5" name="Picture 4">
              <a:extLst>
                <a:ext uri="{FF2B5EF4-FFF2-40B4-BE49-F238E27FC236}">
                  <a16:creationId xmlns:a16="http://schemas.microsoft.com/office/drawing/2014/main" id="{00F503E2-5D06-AC7F-6BFB-54786C93E3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 rot="21600000">
              <a:off x="10244361" y="4117523"/>
              <a:ext cx="1509283" cy="10014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blipFill dpi="0" rotWithShape="0">
                    <a:blip/>
                    <a:srcRect/>
                    <a:stretch>
                      <a:fillRect/>
                    </a:stretch>
                  </a:blipFill>
                </a14:hiddenFill>
              </a:ext>
              <a:ext uri="{91240B29-F687-4F45-9708-019B960494DF}">
                <a14:hiddenLine xmlns:a14="http://schemas.microsoft.com/office/drawing/2010/main" w="9525" cap="flat">
                  <a:solidFill>
                    <a:srgbClr val="3465A4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sp>
          <p:nvSpPr>
            <p:cNvPr id="36" name="Ellipse 35">
              <a:extLst>
                <a:ext uri="{FF2B5EF4-FFF2-40B4-BE49-F238E27FC236}">
                  <a16:creationId xmlns:a16="http://schemas.microsoft.com/office/drawing/2014/main" id="{8B3EE14A-D0D7-8945-FF02-51303F48BB15}"/>
                </a:ext>
              </a:extLst>
            </p:cNvPr>
            <p:cNvSpPr/>
            <p:nvPr/>
          </p:nvSpPr>
          <p:spPr>
            <a:xfrm>
              <a:off x="9327627" y="1260177"/>
              <a:ext cx="2766834" cy="2899430"/>
            </a:xfrm>
            <a:prstGeom prst="ellipse">
              <a:avLst/>
            </a:prstGeom>
            <a:solidFill>
              <a:srgbClr val="D4ED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725D18C0-B7E0-C887-E946-E697F061E01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400000"/>
                      </a14:imgEffect>
                    </a14:imgLayer>
                  </a14:imgProps>
                </a:ext>
              </a:extLst>
            </a:blip>
            <a:srcRect l="2229" t="715" r="2229" b="-735"/>
            <a:stretch/>
          </p:blipFill>
          <p:spPr>
            <a:xfrm>
              <a:off x="7616554" y="2625080"/>
              <a:ext cx="1551473" cy="193934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E19E5A11-FBEA-4E2F-ABAA-A6968FE49C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2853" t="14975" r="-241" b="2070"/>
            <a:stretch/>
          </p:blipFill>
          <p:spPr>
            <a:xfrm>
              <a:off x="9898637" y="1698155"/>
              <a:ext cx="1621363" cy="208464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2" name="Inhaltsplatzhalter 2">
            <a:extLst>
              <a:ext uri="{FF2B5EF4-FFF2-40B4-BE49-F238E27FC236}">
                <a16:creationId xmlns:a16="http://schemas.microsoft.com/office/drawing/2014/main" id="{65768A71-B6A1-A7A6-2EE3-0B297388F00E}"/>
              </a:ext>
            </a:extLst>
          </p:cNvPr>
          <p:cNvSpPr txBox="1">
            <a:spLocks/>
          </p:cNvSpPr>
          <p:nvPr/>
        </p:nvSpPr>
        <p:spPr>
          <a:xfrm>
            <a:off x="582386" y="4117523"/>
            <a:ext cx="6874568" cy="21947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96000" indent="-36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9ED4"/>
              </a:buClr>
              <a:buFont typeface="Wingdings" panose="05000000000000000000" pitchFamily="2" charset="2"/>
              <a:buChar char="§"/>
              <a:defRPr sz="3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738000" indent="-30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9ED4"/>
              </a:buClr>
              <a:buFont typeface="Wingdings" panose="05000000000000000000" pitchFamily="2" charset="2"/>
              <a:buChar char="§"/>
              <a:defRPr lang="de-DE" sz="3200" kern="1200" dirty="0" smtClean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36050" indent="-285750">
              <a:lnSpc>
                <a:spcPct val="90000"/>
              </a:lnSpc>
            </a:pPr>
            <a:r>
              <a:rPr lang="en-US" sz="1600" dirty="0" err="1">
                <a:latin typeface="+mn-lt"/>
                <a:cs typeface="+mn-cs"/>
                <a:sym typeface="Wingdings" panose="05000000000000000000" pitchFamily="2" charset="2"/>
              </a:rPr>
              <a:t>Datennutzung</a:t>
            </a: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</a:rPr>
              <a:t>: </a:t>
            </a:r>
          </a:p>
          <a:p>
            <a:pPr marL="832050" lvl="1" indent="-285750">
              <a:lnSpc>
                <a:spcPct val="90000"/>
              </a:lnSpc>
              <a:buFont typeface="Symbol" panose="05050102010706020507" pitchFamily="18" charset="2"/>
              <a:buChar char="-"/>
            </a:pP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ehler &amp; Rammstedt </a:t>
            </a:r>
            <a:r>
              <a:rPr lang="en-US" sz="1600" u="sng" dirty="0">
                <a:latin typeface="+mn-lt"/>
                <a:cs typeface="+mn-cs"/>
                <a:sym typeface="Wingdings" panose="05000000000000000000" pitchFamily="2" charset="2"/>
              </a:rPr>
              <a:t>(2020)</a:t>
            </a: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</a:rPr>
              <a:t>: </a:t>
            </a:r>
            <a:r>
              <a:rPr lang="en-US" sz="1600" dirty="0" err="1">
                <a:latin typeface="+mn-lt"/>
                <a:cs typeface="+mn-cs"/>
                <a:sym typeface="Wingdings" panose="05000000000000000000" pitchFamily="2" charset="2"/>
              </a:rPr>
              <a:t>Datennutzung</a:t>
            </a: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</a:rPr>
              <a:t> </a:t>
            </a:r>
            <a:r>
              <a:rPr lang="en-US" sz="1600" dirty="0" err="1">
                <a:latin typeface="+mn-lt"/>
                <a:cs typeface="+mn-cs"/>
                <a:sym typeface="Wingdings" panose="05000000000000000000" pitchFamily="2" charset="2"/>
              </a:rPr>
              <a:t>anhand</a:t>
            </a: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</a:rPr>
              <a:t> Webtools (</a:t>
            </a:r>
            <a:r>
              <a:rPr lang="en-US" sz="1600" dirty="0" err="1">
                <a:latin typeface="+mn-lt"/>
                <a:cs typeface="+mn-cs"/>
                <a:sym typeface="Wingdings" panose="05000000000000000000" pitchFamily="2" charset="2"/>
              </a:rPr>
              <a:t>z.B.</a:t>
            </a: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</a:rPr>
              <a:t> IDB-</a:t>
            </a:r>
            <a:r>
              <a:rPr lang="en-US" sz="1600" dirty="0" err="1">
                <a:latin typeface="+mn-lt"/>
                <a:cs typeface="+mn-cs"/>
                <a:sym typeface="Wingdings" panose="05000000000000000000" pitchFamily="2" charset="2"/>
              </a:rPr>
              <a:t>Analizer</a:t>
            </a: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</a:rPr>
              <a:t>) und Software (</a:t>
            </a:r>
            <a:r>
              <a:rPr lang="en-US" sz="1600" dirty="0" err="1">
                <a:latin typeface="+mn-lt"/>
                <a:cs typeface="+mn-cs"/>
                <a:sym typeface="Wingdings" panose="05000000000000000000" pitchFamily="2" charset="2"/>
              </a:rPr>
              <a:t>z.B.</a:t>
            </a: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</a:rPr>
              <a:t> Stata </a:t>
            </a:r>
            <a:r>
              <a:rPr lang="en-US" sz="1600" dirty="0" err="1">
                <a:latin typeface="+mn-lt"/>
                <a:cs typeface="+mn-cs"/>
                <a:sym typeface="Wingdings" panose="05000000000000000000" pitchFamily="2" charset="2"/>
              </a:rPr>
              <a:t>Pakete</a:t>
            </a: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</a:rPr>
              <a:t>, R) </a:t>
            </a:r>
          </a:p>
          <a:p>
            <a:pPr marL="832050" lvl="1" indent="-285750">
              <a:lnSpc>
                <a:spcPct val="90000"/>
              </a:lnSpc>
              <a:buFont typeface="Symbol" panose="05050102010706020507" pitchFamily="18" charset="2"/>
              <a:buChar char="-"/>
            </a:pP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</a:rPr>
              <a:t>PIAAC Scripts Collection: </a:t>
            </a: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digital-platform</a:t>
            </a:r>
            <a:endParaRPr lang="en-US" sz="1600" dirty="0">
              <a:latin typeface="+mn-lt"/>
              <a:cs typeface="+mn-cs"/>
              <a:sym typeface="Wingdings" panose="05000000000000000000" pitchFamily="2" charset="2"/>
            </a:endParaRPr>
          </a:p>
          <a:p>
            <a:pPr marL="832050" lvl="1" indent="-285750">
              <a:lnSpc>
                <a:spcPct val="90000"/>
              </a:lnSpc>
              <a:buFont typeface="Symbol" panose="05050102010706020507" pitchFamily="18" charset="2"/>
              <a:buChar char="-"/>
            </a:pP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YouTube Playlist</a:t>
            </a:r>
            <a:r>
              <a:rPr lang="en-US" sz="1600" dirty="0">
                <a:latin typeface="+mn-lt"/>
                <a:cs typeface="+mn-cs"/>
                <a:sym typeface="Wingdings" panose="05000000000000000000" pitchFamily="2" charset="2"/>
              </a:rPr>
              <a:t> „Online Tutorials on the Analysis of PIAAC Data”</a:t>
            </a:r>
          </a:p>
        </p:txBody>
      </p:sp>
    </p:spTree>
    <p:extLst>
      <p:ext uri="{BB962C8B-B14F-4D97-AF65-F5344CB8AC3E}">
        <p14:creationId xmlns:p14="http://schemas.microsoft.com/office/powerpoint/2010/main" val="13084292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7D6E337-8398-4725-BA1D-340F871316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66DDEF-6F62-4E10-A7D9-534B7EFA16E6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664E938A-BD4A-46D4-9520-45DEDB6068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blick: Was gibt es noch?</a:t>
            </a:r>
          </a:p>
        </p:txBody>
      </p:sp>
    </p:spTree>
    <p:extLst>
      <p:ext uri="{BB962C8B-B14F-4D97-AF65-F5344CB8AC3E}">
        <p14:creationId xmlns:p14="http://schemas.microsoft.com/office/powerpoint/2010/main" val="14735616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E8080050-123C-86A0-FE5C-4A10A071D0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blick</a:t>
            </a:r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75DB440-1B55-4A26-ABC7-6670E47D91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66DDEF-6F62-4E10-A7D9-534B7EFA16E6}" type="slidenum">
              <a:rPr lang="de-DE" smtClean="0"/>
              <a:t>13</a:t>
            </a:fld>
            <a:endParaRPr lang="de-DE" dirty="0"/>
          </a:p>
        </p:txBody>
      </p:sp>
      <p:graphicFrame>
        <p:nvGraphicFramePr>
          <p:cNvPr id="7" name="Inhaltsplatzhalter 2">
            <a:extLst>
              <a:ext uri="{FF2B5EF4-FFF2-40B4-BE49-F238E27FC236}">
                <a16:creationId xmlns:a16="http://schemas.microsoft.com/office/drawing/2014/main" id="{1C95E1AB-8BC1-A226-4240-1E3271B8CD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6860346"/>
              </p:ext>
            </p:extLst>
          </p:nvPr>
        </p:nvGraphicFramePr>
        <p:xfrm>
          <a:off x="838200" y="158178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2" name="Grafik 11" descr="Blitzlicht mit einfarbiger Füllung">
            <a:extLst>
              <a:ext uri="{FF2B5EF4-FFF2-40B4-BE49-F238E27FC236}">
                <a16:creationId xmlns:a16="http://schemas.microsoft.com/office/drawing/2014/main" id="{DAAA6CC4-EFCD-218E-8E6C-38E18C76BA3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10697" y="5834320"/>
            <a:ext cx="409918" cy="409918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3B9B5071-DE73-E824-2948-22EEBC7EA35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46328" y="5748685"/>
            <a:ext cx="585451" cy="789372"/>
          </a:xfrm>
          <a:prstGeom prst="rect">
            <a:avLst/>
          </a:prstGeom>
          <a:scene3d>
            <a:camera prst="orthographicFront">
              <a:rot lat="0" lon="11999935" rev="0"/>
            </a:camera>
            <a:lightRig rig="threePt" dir="t"/>
          </a:scene3d>
        </p:spPr>
      </p:pic>
    </p:spTree>
    <p:extLst>
      <p:ext uri="{BB962C8B-B14F-4D97-AF65-F5344CB8AC3E}">
        <p14:creationId xmlns:p14="http://schemas.microsoft.com/office/powerpoint/2010/main" val="40742399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D180E3B7-DE4E-91CB-D8B3-7FADF0B781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66DDEF-6F62-4E10-A7D9-534B7EFA16E6}" type="slidenum">
              <a:rPr lang="de-DE" smtClean="0"/>
              <a:t>14</a:t>
            </a:fld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5DEC3FCE-B95C-3BD4-3A0C-511535FAFB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Titel 6">
            <a:extLst>
              <a:ext uri="{FF2B5EF4-FFF2-40B4-BE49-F238E27FC236}">
                <a16:creationId xmlns:a16="http://schemas.microsoft.com/office/drawing/2014/main" id="{51175EE7-8FAD-6812-E7FD-72035127735C}"/>
              </a:ext>
            </a:extLst>
          </p:cNvPr>
          <p:cNvSpPr txBox="1">
            <a:spLocks/>
          </p:cNvSpPr>
          <p:nvPr/>
        </p:nvSpPr>
        <p:spPr>
          <a:xfrm>
            <a:off x="872400" y="2806125"/>
            <a:ext cx="10800000" cy="630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>
                <a:solidFill>
                  <a:schemeClr val="bg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de-DE" dirty="0"/>
              <a:t>Referenzen</a:t>
            </a:r>
          </a:p>
        </p:txBody>
      </p:sp>
    </p:spTree>
    <p:extLst>
      <p:ext uri="{BB962C8B-B14F-4D97-AF65-F5344CB8AC3E}">
        <p14:creationId xmlns:p14="http://schemas.microsoft.com/office/powerpoint/2010/main" val="1318268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5C15A60-43CE-4235-A3ED-B6813D0D5C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66DDEF-6F62-4E10-A7D9-534B7EFA16E6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4C0F66-E166-44E5-AD13-1D141EED0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ferenz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8CABBE59-5D21-F446-C4C2-2ACB6C41E8EC}"/>
              </a:ext>
            </a:extLst>
          </p:cNvPr>
          <p:cNvSpPr txBox="1">
            <a:spLocks/>
          </p:cNvSpPr>
          <p:nvPr/>
        </p:nvSpPr>
        <p:spPr>
          <a:xfrm>
            <a:off x="720000" y="1758045"/>
            <a:ext cx="10388871" cy="4784269"/>
          </a:xfrm>
          <a:prstGeom prst="rect">
            <a:avLst/>
          </a:prstGeom>
        </p:spPr>
        <p:txBody>
          <a:bodyPr>
            <a:noAutofit/>
          </a:bodyPr>
          <a:lstStyle>
            <a:lvl1pPr marL="396000" indent="-36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9ED4"/>
              </a:buClr>
              <a:buFont typeface="Wingdings" panose="05000000000000000000" pitchFamily="2" charset="2"/>
              <a:buChar char="§"/>
              <a:defRPr sz="3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738000" indent="-30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9ED4"/>
              </a:buClr>
              <a:buFont typeface="Wingdings" panose="05000000000000000000" pitchFamily="2" charset="2"/>
              <a:buChar char="§"/>
              <a:defRPr lang="de-DE" sz="3200" kern="1200" dirty="0" smtClean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sz="1600" dirty="0" err="1">
                <a:solidFill>
                  <a:srgbClr val="000000"/>
                </a:solidFill>
                <a:sym typeface="Wingdings" panose="05000000000000000000" pitchFamily="2" charset="2"/>
              </a:rPr>
              <a:t>Desjardins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, R. (2020). PIAAC </a:t>
            </a:r>
            <a:r>
              <a:rPr lang="de-DE" sz="1600" dirty="0" err="1">
                <a:solidFill>
                  <a:srgbClr val="000000"/>
                </a:solidFill>
                <a:sym typeface="Wingdings" panose="05000000000000000000" pitchFamily="2" charset="2"/>
              </a:rPr>
              <a:t>thematic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 review on adult </a:t>
            </a:r>
            <a:r>
              <a:rPr lang="de-DE" sz="1600" dirty="0" err="1">
                <a:solidFill>
                  <a:srgbClr val="000000"/>
                </a:solidFill>
                <a:sym typeface="Wingdings" panose="05000000000000000000" pitchFamily="2" charset="2"/>
              </a:rPr>
              <a:t>learning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. 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OECD Education Working Papers 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(</a:t>
            </a:r>
            <a:r>
              <a:rPr lang="de-DE" sz="1600" dirty="0" err="1">
                <a:solidFill>
                  <a:srgbClr val="000000"/>
                </a:solidFill>
                <a:sym typeface="Wingdings" panose="05000000000000000000" pitchFamily="2" charset="2"/>
              </a:rPr>
              <a:t>No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. 223). Paris. 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  <a:hlinkClick r:id="rId2"/>
              </a:rPr>
              <a:t>https://doi.org/10.1787/864d2484-en </a:t>
            </a:r>
            <a:endParaRPr lang="de-DE" sz="1600" dirty="0">
              <a:solidFill>
                <a:srgbClr val="000000"/>
              </a:solidFill>
              <a:sym typeface="Wingdings" panose="05000000000000000000" pitchFamily="2" charset="2"/>
            </a:endParaRPr>
          </a:p>
          <a:p>
            <a:pPr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sym typeface="Wingdings" panose="05000000000000000000" pitchFamily="2" charset="2"/>
              </a:rPr>
              <a:t>Gauly, B. &amp; Lechner, C. (2019). Self-perfection or self-selection? Unraveling the relationship between job-related training and adults' literacy skills. </a:t>
            </a:r>
            <a:r>
              <a:rPr lang="en-US" sz="1600" i="1" dirty="0" err="1">
                <a:solidFill>
                  <a:srgbClr val="000000"/>
                </a:solidFill>
                <a:sym typeface="Wingdings" panose="05000000000000000000" pitchFamily="2" charset="2"/>
              </a:rPr>
              <a:t>PLoS</a:t>
            </a:r>
            <a:r>
              <a:rPr lang="en-US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 ONE </a:t>
            </a:r>
            <a:r>
              <a:rPr lang="en-US" sz="1600" dirty="0">
                <a:solidFill>
                  <a:srgbClr val="000000"/>
                </a:solidFill>
                <a:sym typeface="Wingdings" panose="05000000000000000000" pitchFamily="2" charset="2"/>
              </a:rPr>
              <a:t>14 (5). </a:t>
            </a:r>
            <a:r>
              <a:rPr lang="en-US" sz="1600" dirty="0">
                <a:solidFill>
                  <a:srgbClr val="000000"/>
                </a:solidFill>
                <a:sym typeface="Wingdings" panose="05000000000000000000" pitchFamily="2" charset="2"/>
                <a:hlinkClick r:id="rId3"/>
              </a:rPr>
              <a:t>https://doi.org/10.1371/journal.pone.0215971</a:t>
            </a:r>
            <a:r>
              <a:rPr lang="en-US" sz="1600" dirty="0">
                <a:solidFill>
                  <a:srgbClr val="000000"/>
                </a:solidFill>
                <a:sym typeface="Wingdings" panose="05000000000000000000" pitchFamily="2" charset="2"/>
              </a:rPr>
              <a:t> </a:t>
            </a:r>
            <a:endParaRPr lang="de-DE" sz="1600" dirty="0">
              <a:solidFill>
                <a:srgbClr val="000000"/>
              </a:solidFill>
              <a:sym typeface="Wingdings" panose="05000000000000000000" pitchFamily="2" charset="2"/>
            </a:endParaRPr>
          </a:p>
          <a:p>
            <a:pPr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GESIS – Leibniz Institute for the Social Sciences, German </a:t>
            </a:r>
            <a:r>
              <a:rPr lang="de-DE" sz="1600" dirty="0" err="1">
                <a:solidFill>
                  <a:srgbClr val="000000"/>
                </a:solidFill>
                <a:sym typeface="Wingdings" panose="05000000000000000000" pitchFamily="2" charset="2"/>
              </a:rPr>
              <a:t>Socio-Economic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 Panel (SOEP) at DIW Berlin, &amp; LIfBi – Leibniz Institute for Educational </a:t>
            </a:r>
            <a:r>
              <a:rPr lang="de-DE" sz="1600" dirty="0" err="1">
                <a:solidFill>
                  <a:srgbClr val="000000"/>
                </a:solidFill>
                <a:sym typeface="Wingdings" panose="05000000000000000000" pitchFamily="2" charset="2"/>
              </a:rPr>
              <a:t>Trajectories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. (2017). 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PIAAC-Longitudinal (PIAAC-L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), Germany (ZA5989; Version 3.0.0). GESIS Data Archive, Cologne. 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  <a:hlinkClick r:id="rId4"/>
              </a:rPr>
              <a:t>https://doi.org/10.4232/1.12925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  </a:t>
            </a:r>
          </a:p>
          <a:p>
            <a:pPr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sym typeface="Wingdings" panose="05000000000000000000" pitchFamily="2" charset="2"/>
              </a:rPr>
              <a:t>Hanushek, E. A., </a:t>
            </a:r>
            <a:r>
              <a:rPr lang="en-US" sz="1600" dirty="0" err="1">
                <a:solidFill>
                  <a:srgbClr val="000000"/>
                </a:solidFill>
                <a:sym typeface="Wingdings" panose="05000000000000000000" pitchFamily="2" charset="2"/>
              </a:rPr>
              <a:t>Piopiunik</a:t>
            </a:r>
            <a:r>
              <a:rPr lang="en-US" sz="1600" dirty="0">
                <a:solidFill>
                  <a:srgbClr val="000000"/>
                </a:solidFill>
                <a:sym typeface="Wingdings" panose="05000000000000000000" pitchFamily="2" charset="2"/>
              </a:rPr>
              <a:t>, M., &amp; Wiederhold, S. (2019). The value of smarter teachers. International </a:t>
            </a:r>
          </a:p>
          <a:p>
            <a:pPr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sym typeface="Wingdings" panose="05000000000000000000" pitchFamily="2" charset="2"/>
              </a:rPr>
              <a:t>evidence on teacher cognitive skills and student performance. Journal of Human Resources, 54(41), </a:t>
            </a:r>
          </a:p>
          <a:p>
            <a:pPr>
              <a:spcAft>
                <a:spcPts val="0"/>
              </a:spcAft>
            </a:pPr>
            <a:r>
              <a:rPr lang="en-US" sz="1600" dirty="0">
                <a:solidFill>
                  <a:srgbClr val="000000"/>
                </a:solidFill>
                <a:sym typeface="Wingdings" panose="05000000000000000000" pitchFamily="2" charset="2"/>
              </a:rPr>
              <a:t>857-899. </a:t>
            </a:r>
            <a:r>
              <a:rPr lang="en-US" sz="1600" dirty="0">
                <a:solidFill>
                  <a:srgbClr val="000000"/>
                </a:solidFill>
                <a:sym typeface="Wingdings" panose="05000000000000000000" pitchFamily="2" charset="2"/>
                <a:hlinkClick r:id="rId5"/>
              </a:rPr>
              <a:t>https://doi.org/10.3368/jhr.54.4.0317.8619R1</a:t>
            </a:r>
            <a:r>
              <a:rPr lang="en-US" sz="1600" dirty="0">
                <a:solidFill>
                  <a:srgbClr val="000000"/>
                </a:solidFill>
                <a:sym typeface="Wingdings" panose="05000000000000000000" pitchFamily="2" charset="2"/>
              </a:rPr>
              <a:t>  </a:t>
            </a:r>
            <a:endParaRPr lang="de-DE" sz="1600" dirty="0">
              <a:solidFill>
                <a:srgbClr val="000000"/>
              </a:solidFill>
              <a:sym typeface="Wingdings" panose="05000000000000000000" pitchFamily="2" charset="2"/>
            </a:endParaRPr>
          </a:p>
          <a:p>
            <a:pPr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Maehler, D. B. (Ed.). (2023). 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Analysis </a:t>
            </a:r>
            <a:r>
              <a:rPr lang="de-DE" sz="1600" i="1" dirty="0" err="1">
                <a:solidFill>
                  <a:srgbClr val="000000"/>
                </a:solidFill>
                <a:sym typeface="Wingdings" panose="05000000000000000000" pitchFamily="2" charset="2"/>
              </a:rPr>
              <a:t>scripts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 in large-</a:t>
            </a:r>
            <a:r>
              <a:rPr lang="de-DE" sz="1600" i="1" dirty="0" err="1">
                <a:solidFill>
                  <a:srgbClr val="000000"/>
                </a:solidFill>
                <a:sym typeface="Wingdings" panose="05000000000000000000" pitchFamily="2" charset="2"/>
              </a:rPr>
              <a:t>scale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 </a:t>
            </a:r>
            <a:r>
              <a:rPr lang="de-DE" sz="1600" i="1" dirty="0" err="1">
                <a:solidFill>
                  <a:srgbClr val="000000"/>
                </a:solidFill>
                <a:sym typeface="Wingdings" panose="05000000000000000000" pitchFamily="2" charset="2"/>
              </a:rPr>
              <a:t>assessments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 in </a:t>
            </a:r>
            <a:r>
              <a:rPr lang="de-DE" sz="1600" i="1" dirty="0" err="1">
                <a:solidFill>
                  <a:srgbClr val="000000"/>
                </a:solidFill>
                <a:sym typeface="Wingdings" panose="05000000000000000000" pitchFamily="2" charset="2"/>
              </a:rPr>
              <a:t>education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 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(Methods Series of the Research Data Center PIAAC). GESIS – Leibniz Institute for the Social Sciences. 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  <a:hlinkClick r:id="rId6"/>
              </a:rPr>
              <a:t>https://doi.org/10.21241/ssoar.85846.v2</a:t>
            </a:r>
            <a:endParaRPr lang="de-DE" sz="1600" dirty="0">
              <a:solidFill>
                <a:srgbClr val="000000"/>
              </a:solidFill>
              <a:sym typeface="Wingdings" panose="05000000000000000000" pitchFamily="2" charset="2"/>
            </a:endParaRPr>
          </a:p>
          <a:p>
            <a:pPr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Maehler, D. B., &amp; Rammstedt, B. (2020). 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Large-</a:t>
            </a:r>
            <a:r>
              <a:rPr lang="de-DE" sz="1600" i="1" dirty="0" err="1">
                <a:solidFill>
                  <a:srgbClr val="000000"/>
                </a:solidFill>
                <a:sym typeface="Wingdings" panose="05000000000000000000" pitchFamily="2" charset="2"/>
              </a:rPr>
              <a:t>scale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 </a:t>
            </a:r>
            <a:r>
              <a:rPr lang="de-DE" sz="1600" i="1" dirty="0" err="1">
                <a:solidFill>
                  <a:srgbClr val="000000"/>
                </a:solidFill>
                <a:sym typeface="Wingdings" panose="05000000000000000000" pitchFamily="2" charset="2"/>
              </a:rPr>
              <a:t>cognitive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 </a:t>
            </a:r>
            <a:r>
              <a:rPr lang="de-DE" sz="1600" i="1" dirty="0" err="1">
                <a:solidFill>
                  <a:srgbClr val="000000"/>
                </a:solidFill>
                <a:sym typeface="Wingdings" panose="05000000000000000000" pitchFamily="2" charset="2"/>
              </a:rPr>
              <a:t>assessment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: </a:t>
            </a:r>
            <a:r>
              <a:rPr lang="de-DE" sz="1600" i="1" dirty="0" err="1">
                <a:solidFill>
                  <a:srgbClr val="000000"/>
                </a:solidFill>
                <a:sym typeface="Wingdings" panose="05000000000000000000" pitchFamily="2" charset="2"/>
              </a:rPr>
              <a:t>Analyzing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 PIAAC </a:t>
            </a:r>
            <a:r>
              <a:rPr lang="de-DE" sz="1600" i="1" dirty="0" err="1">
                <a:solidFill>
                  <a:srgbClr val="000000"/>
                </a:solidFill>
                <a:sym typeface="Wingdings" panose="05000000000000000000" pitchFamily="2" charset="2"/>
              </a:rPr>
              <a:t>data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. 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Springer. 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  <a:hlinkClick r:id="rId7"/>
              </a:rPr>
              <a:t>https://doi.org/10.1007/978-3-030-47515-4_1 </a:t>
            </a:r>
            <a:endParaRPr lang="de-DE" sz="1600" dirty="0">
              <a:solidFill>
                <a:srgbClr val="000000"/>
              </a:solidFill>
              <a:sym typeface="Wingdings" panose="05000000000000000000" pitchFamily="2" charset="2"/>
            </a:endParaRPr>
          </a:p>
          <a:p>
            <a:pPr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Maehler, D. B., Konradt, I., Morozova, D., Dickson, J., Braun, R.-K., &amp; Jakowatz, S. (2023). 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PIAAC </a:t>
            </a:r>
            <a:r>
              <a:rPr lang="de-DE" sz="1600" i="1" dirty="0" err="1">
                <a:solidFill>
                  <a:srgbClr val="000000"/>
                </a:solidFill>
                <a:sym typeface="Wingdings" panose="05000000000000000000" pitchFamily="2" charset="2"/>
              </a:rPr>
              <a:t>Bibliography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 - 2008-2022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. (GESIS Papers, 2023/04). Köln: GESIS - Leibniz-Institut für Sozialwissenschaften. 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  <a:hlinkClick r:id="rId8"/>
              </a:rPr>
              <a:t>https://doi.org/10.21241/ssoar.85816</a:t>
            </a:r>
            <a:endParaRPr lang="de-DE" sz="1600" dirty="0">
              <a:solidFill>
                <a:srgbClr val="000000"/>
              </a:solidFill>
              <a:sym typeface="Wingdings" panose="05000000000000000000" pitchFamily="2" charset="2"/>
            </a:endParaRPr>
          </a:p>
          <a:p>
            <a:pPr marL="774900" marR="0" lvl="1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9ED4"/>
              </a:buClr>
              <a:buSzTx/>
              <a:buFont typeface="Symbol" panose="05050102010706020507" pitchFamily="18" charset="2"/>
              <a:buChar char="-"/>
              <a:tabLst/>
              <a:defRPr/>
            </a:pPr>
            <a:endParaRPr kumimoji="0" lang="de-DE" sz="16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  <a:sym typeface="Wingdings" panose="05000000000000000000" pitchFamily="2" charset="2"/>
            </a:endParaRPr>
          </a:p>
        </p:txBody>
      </p:sp>
      <p:pic>
        <p:nvPicPr>
          <p:cNvPr id="12" name="Grafik 11" descr="Bücher im Regal mit einfarbiger Füllung">
            <a:extLst>
              <a:ext uri="{FF2B5EF4-FFF2-40B4-BE49-F238E27FC236}">
                <a16:creationId xmlns:a16="http://schemas.microsoft.com/office/drawing/2014/main" id="{8EDB0A64-C0A1-3F19-318E-C2FC48F666C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45385" y="810831"/>
            <a:ext cx="1081338" cy="108133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DE2D8C0-15C6-7D9F-654A-1FECF61BD9B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921491" y="1133331"/>
            <a:ext cx="562805" cy="758838"/>
          </a:xfrm>
          <a:prstGeom prst="rect">
            <a:avLst/>
          </a:prstGeom>
          <a:scene3d>
            <a:camera prst="orthographicFront">
              <a:rot lat="0" lon="20999909" rev="0"/>
            </a:camera>
            <a:lightRig rig="threePt" dir="t"/>
          </a:scene3d>
        </p:spPr>
      </p:pic>
    </p:spTree>
    <p:extLst>
      <p:ext uri="{BB962C8B-B14F-4D97-AF65-F5344CB8AC3E}">
        <p14:creationId xmlns:p14="http://schemas.microsoft.com/office/powerpoint/2010/main" val="33329614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5C15A60-43CE-4235-A3ED-B6813D0D5C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66DDEF-6F62-4E10-A7D9-534B7EFA16E6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4C0F66-E166-44E5-AD13-1D141EED0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ferenzen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8CABBE59-5D21-F446-C4C2-2ACB6C41E8EC}"/>
              </a:ext>
            </a:extLst>
          </p:cNvPr>
          <p:cNvSpPr txBox="1">
            <a:spLocks/>
          </p:cNvSpPr>
          <p:nvPr/>
        </p:nvSpPr>
        <p:spPr>
          <a:xfrm>
            <a:off x="720000" y="1758045"/>
            <a:ext cx="10388871" cy="4784269"/>
          </a:xfrm>
          <a:prstGeom prst="rect">
            <a:avLst/>
          </a:prstGeom>
        </p:spPr>
        <p:txBody>
          <a:bodyPr>
            <a:noAutofit/>
          </a:bodyPr>
          <a:lstStyle>
            <a:lvl1pPr marL="396000" indent="-36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9ED4"/>
              </a:buClr>
              <a:buFont typeface="Wingdings" panose="05000000000000000000" pitchFamily="2" charset="2"/>
              <a:buChar char="§"/>
              <a:defRPr sz="3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738000" indent="-30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9ED4"/>
              </a:buClr>
              <a:buFont typeface="Wingdings" panose="05000000000000000000" pitchFamily="2" charset="2"/>
              <a:buChar char="§"/>
              <a:defRPr lang="de-DE" sz="3200" kern="1200" dirty="0" smtClean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Martin, S., Zabal, A., Maehler, D. B., &amp; Rammstedt, B. (2022). Data </a:t>
            </a:r>
            <a:r>
              <a:rPr lang="de-DE" sz="1600" dirty="0" err="1">
                <a:solidFill>
                  <a:srgbClr val="000000"/>
                </a:solidFill>
                <a:sym typeface="Wingdings" panose="05000000000000000000" pitchFamily="2" charset="2"/>
              </a:rPr>
              <a:t>from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 PIAAC Germany and </a:t>
            </a:r>
            <a:r>
              <a:rPr lang="de-DE" sz="1600" dirty="0" err="1">
                <a:solidFill>
                  <a:srgbClr val="000000"/>
                </a:solidFill>
                <a:sym typeface="Wingdings" panose="05000000000000000000" pitchFamily="2" charset="2"/>
              </a:rPr>
              <a:t>its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 longitudinal follow-</a:t>
            </a:r>
            <a:r>
              <a:rPr lang="de-DE" sz="1600" dirty="0" err="1">
                <a:solidFill>
                  <a:srgbClr val="000000"/>
                </a:solidFill>
                <a:sym typeface="Wingdings" panose="05000000000000000000" pitchFamily="2" charset="2"/>
              </a:rPr>
              <a:t>up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, PIAAC-L. 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Journal of Open </a:t>
            </a:r>
            <a:r>
              <a:rPr lang="de-DE" sz="1600" i="1" dirty="0" err="1">
                <a:solidFill>
                  <a:srgbClr val="000000"/>
                </a:solidFill>
                <a:sym typeface="Wingdings" panose="05000000000000000000" pitchFamily="2" charset="2"/>
              </a:rPr>
              <a:t>Psychology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 Data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, 10(1). 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  <a:hlinkClick r:id="rId2"/>
              </a:rPr>
              <a:t>https://doi.org/10.5334/jopd.74</a:t>
            </a:r>
            <a:endParaRPr lang="de-DE" sz="1600" dirty="0">
              <a:solidFill>
                <a:srgbClr val="000000"/>
              </a:solidFill>
              <a:sym typeface="Wingdings" panose="05000000000000000000" pitchFamily="2" charset="2"/>
            </a:endParaRPr>
          </a:p>
          <a:p>
            <a:pPr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Martin, S., Maehler, D. B., Zabal, A. &amp; Rammstedt, B (2022). PIAAC-L: the longitudinal follow-</a:t>
            </a:r>
            <a:r>
              <a:rPr lang="de-DE" sz="1600" dirty="0" err="1">
                <a:solidFill>
                  <a:srgbClr val="000000"/>
                </a:solidFill>
                <a:sym typeface="Wingdings" panose="05000000000000000000" pitchFamily="2" charset="2"/>
              </a:rPr>
              <a:t>up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 </a:t>
            </a:r>
            <a:r>
              <a:rPr lang="de-DE" sz="1600" dirty="0" err="1">
                <a:solidFill>
                  <a:srgbClr val="000000"/>
                </a:solidFill>
                <a:sym typeface="Wingdings" panose="05000000000000000000" pitchFamily="2" charset="2"/>
              </a:rPr>
              <a:t>to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 PIAAC in Germany. 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Soziale Welt – Zeitschrift für sozialwissenschaftliche Forschung und Praxis 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73 (1), 169 - 199. 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  <a:hlinkClick r:id="rId3"/>
              </a:rPr>
              <a:t>https://doi.org/10.5771/0038-6073-2022-1-169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 </a:t>
            </a:r>
          </a:p>
          <a:p>
            <a:pPr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Organisation for </a:t>
            </a:r>
            <a:r>
              <a:rPr lang="de-DE" sz="1600" dirty="0" err="1">
                <a:solidFill>
                  <a:srgbClr val="000000"/>
                </a:solidFill>
                <a:sym typeface="Wingdings" panose="05000000000000000000" pitchFamily="2" charset="2"/>
              </a:rPr>
              <a:t>Economic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 </a:t>
            </a:r>
            <a:r>
              <a:rPr lang="de-DE" sz="1600" dirty="0" err="1">
                <a:solidFill>
                  <a:srgbClr val="000000"/>
                </a:solidFill>
                <a:sym typeface="Wingdings" panose="05000000000000000000" pitchFamily="2" charset="2"/>
              </a:rPr>
              <a:t>Cooperation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 and Development (OECD) (2019). 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Skills Matter – Additional </a:t>
            </a:r>
            <a:r>
              <a:rPr lang="de-DE" sz="1600" i="1" dirty="0" err="1">
                <a:solidFill>
                  <a:srgbClr val="000000"/>
                </a:solidFill>
                <a:sym typeface="Wingdings" panose="05000000000000000000" pitchFamily="2" charset="2"/>
              </a:rPr>
              <a:t>Results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 </a:t>
            </a:r>
            <a:r>
              <a:rPr lang="de-DE" sz="1600" i="1" dirty="0" err="1">
                <a:solidFill>
                  <a:srgbClr val="000000"/>
                </a:solidFill>
                <a:sym typeface="Wingdings" panose="05000000000000000000" pitchFamily="2" charset="2"/>
              </a:rPr>
              <a:t>from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 the Survey of Adult Skills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. Paris. 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  <a:hlinkClick r:id="rId4"/>
              </a:rPr>
              <a:t>https://doi.org/10.1787/1f029d8f-e</a:t>
            </a:r>
            <a:endParaRPr lang="de-DE" sz="1600" dirty="0">
              <a:solidFill>
                <a:srgbClr val="000000"/>
              </a:solidFill>
              <a:sym typeface="Wingdings" panose="05000000000000000000" pitchFamily="2" charset="2"/>
            </a:endParaRPr>
          </a:p>
          <a:p>
            <a:pPr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Organisation for </a:t>
            </a:r>
            <a:r>
              <a:rPr lang="de-DE" sz="1600" dirty="0" err="1">
                <a:solidFill>
                  <a:srgbClr val="000000"/>
                </a:solidFill>
                <a:sym typeface="Wingdings" panose="05000000000000000000" pitchFamily="2" charset="2"/>
              </a:rPr>
              <a:t>Economic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 Co-operation and Development (OECD). (2021). 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The </a:t>
            </a:r>
            <a:r>
              <a:rPr lang="de-DE" sz="1600" i="1" dirty="0" err="1">
                <a:solidFill>
                  <a:srgbClr val="000000"/>
                </a:solidFill>
                <a:sym typeface="Wingdings" panose="05000000000000000000" pitchFamily="2" charset="2"/>
              </a:rPr>
              <a:t>assessment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 </a:t>
            </a:r>
            <a:r>
              <a:rPr lang="de-DE" sz="1600" i="1" dirty="0" err="1">
                <a:solidFill>
                  <a:srgbClr val="000000"/>
                </a:solidFill>
                <a:sym typeface="Wingdings" panose="05000000000000000000" pitchFamily="2" charset="2"/>
              </a:rPr>
              <a:t>frameworks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 for Cycle 2 of the Programme for the International Assessment of Adult </a:t>
            </a:r>
            <a:r>
              <a:rPr lang="de-DE" sz="1600" i="1" dirty="0" err="1">
                <a:solidFill>
                  <a:srgbClr val="000000"/>
                </a:solidFill>
                <a:sym typeface="Wingdings" panose="05000000000000000000" pitchFamily="2" charset="2"/>
              </a:rPr>
              <a:t>Competencies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. Paris. 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  <a:hlinkClick r:id="rId5"/>
              </a:rPr>
              <a:t>https://doi.org/10.1787/4bc2342d-en</a:t>
            </a:r>
            <a:endParaRPr lang="de-DE" sz="1600" dirty="0">
              <a:solidFill>
                <a:srgbClr val="000000"/>
              </a:solidFill>
              <a:sym typeface="Wingdings" panose="05000000000000000000" pitchFamily="2" charset="2"/>
            </a:endParaRPr>
          </a:p>
          <a:p>
            <a:pPr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Rammstedt, B. et al. (2013). 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Grundlegende Kompetenzen Erwachsener im internationalen Vergleich: Ergebnisse von PIAAC 2012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. Münster: Waxmann. 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  <a:hlinkClick r:id="rId6"/>
              </a:rPr>
              <a:t>https://nbn-resolving.org/urn:nbn:de:0168-ssoar-360687</a:t>
            </a:r>
            <a:endParaRPr lang="de-DE" sz="1600" dirty="0">
              <a:solidFill>
                <a:srgbClr val="000000"/>
              </a:solidFill>
              <a:sym typeface="Wingdings" panose="05000000000000000000" pitchFamily="2" charset="2"/>
            </a:endParaRPr>
          </a:p>
          <a:p>
            <a:pPr>
              <a:spcAft>
                <a:spcPts val="0"/>
              </a:spcAft>
            </a:pP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Rammstedt, B., Martin, S., Zabal, A., Konradt, I., Maehler, D. B., Perry, A., Massing, N., Ackermann-Piek, D., &amp; Helmschrott, S. (2016). 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Programme for the International Assessment of Adult </a:t>
            </a:r>
            <a:r>
              <a:rPr lang="de-DE" sz="1600" i="1" dirty="0" err="1">
                <a:solidFill>
                  <a:srgbClr val="000000"/>
                </a:solidFill>
                <a:sym typeface="Wingdings" panose="05000000000000000000" pitchFamily="2" charset="2"/>
              </a:rPr>
              <a:t>Competencies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 (PIAAC), Germany – </a:t>
            </a:r>
            <a:r>
              <a:rPr lang="de-DE" sz="1600" i="1" dirty="0" err="1">
                <a:solidFill>
                  <a:srgbClr val="000000"/>
                </a:solidFill>
                <a:sym typeface="Wingdings" panose="05000000000000000000" pitchFamily="2" charset="2"/>
              </a:rPr>
              <a:t>Reduced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 </a:t>
            </a:r>
            <a:r>
              <a:rPr lang="de-DE" sz="1600" i="1" dirty="0" err="1">
                <a:solidFill>
                  <a:srgbClr val="000000"/>
                </a:solidFill>
                <a:sym typeface="Wingdings" panose="05000000000000000000" pitchFamily="2" charset="2"/>
              </a:rPr>
              <a:t>version</a:t>
            </a:r>
            <a:r>
              <a:rPr lang="de-DE" sz="1600" i="1" dirty="0">
                <a:solidFill>
                  <a:srgbClr val="000000"/>
                </a:solidFill>
                <a:sym typeface="Wingdings" panose="05000000000000000000" pitchFamily="2" charset="2"/>
              </a:rPr>
              <a:t> 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(ZA5845; Version 2.2.0). GESIS Data Archive, Cologne. 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  <a:hlinkClick r:id="rId7"/>
              </a:rPr>
              <a:t>https://doi.org/10.4232/1.12660</a:t>
            </a:r>
            <a:r>
              <a:rPr lang="de-DE" sz="1600" dirty="0">
                <a:solidFill>
                  <a:srgbClr val="000000"/>
                </a:solidFill>
                <a:sym typeface="Wingdings" panose="05000000000000000000" pitchFamily="2" charset="2"/>
              </a:rPr>
              <a:t>  </a:t>
            </a:r>
          </a:p>
        </p:txBody>
      </p:sp>
      <p:pic>
        <p:nvPicPr>
          <p:cNvPr id="12" name="Grafik 11" descr="Bücher im Regal mit einfarbiger Füllung">
            <a:extLst>
              <a:ext uri="{FF2B5EF4-FFF2-40B4-BE49-F238E27FC236}">
                <a16:creationId xmlns:a16="http://schemas.microsoft.com/office/drawing/2014/main" id="{8EDB0A64-C0A1-3F19-318E-C2FC48F666C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045385" y="810831"/>
            <a:ext cx="1081338" cy="1081338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DE2D8C0-15C6-7D9F-654A-1FECF61BD9B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921491" y="1133331"/>
            <a:ext cx="562805" cy="758838"/>
          </a:xfrm>
          <a:prstGeom prst="rect">
            <a:avLst/>
          </a:prstGeom>
          <a:scene3d>
            <a:camera prst="orthographicFront">
              <a:rot lat="0" lon="20999909" rev="0"/>
            </a:camera>
            <a:lightRig rig="threePt" dir="t"/>
          </a:scene3d>
        </p:spPr>
      </p:pic>
    </p:spTree>
    <p:extLst>
      <p:ext uri="{BB962C8B-B14F-4D97-AF65-F5344CB8AC3E}">
        <p14:creationId xmlns:p14="http://schemas.microsoft.com/office/powerpoint/2010/main" val="27539749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A4AF5BB4-E408-43D7-985D-D2FACD1BF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sprechpartnerin / Kontakt für Rückfrag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E327A35-BBAA-4A62-ADCD-00D051E8F62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574" y="2219151"/>
            <a:ext cx="4836529" cy="3176203"/>
          </a:xfrm>
        </p:spPr>
        <p:txBody>
          <a:bodyPr>
            <a:normAutofit/>
          </a:bodyPr>
          <a:lstStyle/>
          <a:p>
            <a:pPr marL="36000" lvl="0" indent="0">
              <a:buNone/>
            </a:pPr>
            <a:r>
              <a:rPr lang="de-DE" sz="1800" b="1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</a:p>
          <a:p>
            <a:pPr marL="36000" lvl="0" indent="0">
              <a:spcAft>
                <a:spcPts val="0"/>
              </a:spcAft>
              <a:buNone/>
            </a:pPr>
            <a:r>
              <a:rPr lang="de-DE" sz="1800" b="1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D Dr. Débora Maehler</a:t>
            </a:r>
            <a:br>
              <a:rPr lang="de-DE" sz="1800" b="1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de-DE" sz="1800" dirty="0">
                <a:solidFill>
                  <a:srgbClr val="000000"/>
                </a:solidFill>
              </a:rPr>
              <a:t>FDZ PIAAC am GESIS - Leibniz-Institut für Sozialwissenschaften</a:t>
            </a:r>
          </a:p>
          <a:p>
            <a:pPr marL="36000" lvl="0" indent="0">
              <a:spcAft>
                <a:spcPts val="0"/>
              </a:spcAft>
              <a:buNone/>
            </a:pPr>
            <a:r>
              <a:rPr lang="de-DE" sz="1800" dirty="0">
                <a:solidFill>
                  <a:srgbClr val="000000"/>
                </a:solidFill>
              </a:rPr>
              <a:t>B6, 4-5</a:t>
            </a:r>
          </a:p>
          <a:p>
            <a:pPr marL="36000" lvl="0" indent="0">
              <a:spcAft>
                <a:spcPts val="0"/>
              </a:spcAft>
              <a:buNone/>
            </a:pPr>
            <a:r>
              <a:rPr lang="de-DE" sz="1800" dirty="0">
                <a:solidFill>
                  <a:srgbClr val="000000"/>
                </a:solidFill>
              </a:rPr>
              <a:t>68159 Mannheim</a:t>
            </a:r>
          </a:p>
          <a:p>
            <a:pPr marL="36000" lvl="0" indent="0">
              <a:spcAft>
                <a:spcPts val="0"/>
              </a:spcAft>
              <a:buNone/>
            </a:pPr>
            <a:endParaRPr lang="de-DE" sz="1800" dirty="0">
              <a:solidFill>
                <a:srgbClr val="000000"/>
              </a:solidFill>
            </a:endParaRPr>
          </a:p>
          <a:p>
            <a:pPr marL="36000" lvl="0" indent="0">
              <a:buNone/>
            </a:pPr>
            <a:r>
              <a:rPr lang="de-DE" sz="1800" dirty="0">
                <a:solidFill>
                  <a:srgbClr val="000000"/>
                </a:solidFill>
              </a:rPr>
              <a:t>fdz-piaac@gesis.org</a:t>
            </a:r>
            <a:br>
              <a:rPr lang="de-DE" sz="1800" dirty="0">
                <a:solidFill>
                  <a:srgbClr val="000000"/>
                </a:solidFill>
              </a:rPr>
            </a:br>
            <a:r>
              <a:rPr lang="de-DE" sz="1800" dirty="0">
                <a:solidFill>
                  <a:srgbClr val="000000"/>
                </a:solidFill>
                <a:hlinkClick r:id="rId2"/>
              </a:rPr>
              <a:t>https://www.gesis.org/piaac/fdz</a:t>
            </a:r>
            <a:endParaRPr lang="de-DE" sz="1800" dirty="0">
              <a:solidFill>
                <a:srgbClr val="000000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8EA8087-C335-4793-9848-32B72A973E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66DDEF-6F62-4E10-A7D9-534B7EFA16E6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7" name="Foliennummernplatzhalter 1">
            <a:extLst>
              <a:ext uri="{FF2B5EF4-FFF2-40B4-BE49-F238E27FC236}">
                <a16:creationId xmlns:a16="http://schemas.microsoft.com/office/drawing/2014/main" id="{A440EC1F-8B34-4CC3-84A8-AFA936CE8003}"/>
              </a:ext>
            </a:extLst>
          </p:cNvPr>
          <p:cNvSpPr txBox="1">
            <a:spLocks/>
          </p:cNvSpPr>
          <p:nvPr/>
        </p:nvSpPr>
        <p:spPr>
          <a:xfrm>
            <a:off x="11489475" y="6423025"/>
            <a:ext cx="550800" cy="273600"/>
          </a:xfrm>
          <a:prstGeom prst="rect">
            <a:avLst/>
          </a:prstGeom>
        </p:spPr>
        <p:txBody>
          <a:bodyPr vert="horz" lIns="0" tIns="0" rIns="0" bIns="0" rtlCol="0" anchor="ctr" anchorCtr="1"/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466DDEF-6F62-4E10-A7D9-534B7EFA16E6}" type="slidenum">
              <a:rPr lang="de-DE" smtClean="0"/>
              <a:pPr/>
              <a:t>17</a:t>
            </a:fld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677D318-4AE3-4CBE-B0CF-ECF048ED09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79286" y="6049088"/>
            <a:ext cx="1086433" cy="382721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47A61E53-EC21-4164-91EC-43BA8391D0E7}"/>
              </a:ext>
            </a:extLst>
          </p:cNvPr>
          <p:cNvSpPr/>
          <p:nvPr/>
        </p:nvSpPr>
        <p:spPr>
          <a:xfrm>
            <a:off x="665852" y="5994796"/>
            <a:ext cx="599162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400" b="1" dirty="0">
                <a:solidFill>
                  <a:srgbClr val="009ED4"/>
                </a:solidFill>
                <a:latin typeface="Segoe UI Semibold" panose="020B0702040204020203" pitchFamily="34" charset="0"/>
                <a:ea typeface="Calibri" panose="020F0502020204030204" pitchFamily="34" charset="0"/>
                <a:cs typeface="Segoe UI Semibold" panose="020B0702040204020203" pitchFamily="34" charset="0"/>
              </a:rPr>
              <a:t>KonsortSWD</a:t>
            </a:r>
            <a:r>
              <a:rPr lang="de-DE" sz="1400" dirty="0">
                <a:ea typeface="Calibri" panose="020F0502020204030204" pitchFamily="34" charset="0"/>
              </a:rPr>
              <a:t> wird Rahmen der NFDI durch die Deutsche Forschungsgemeinschaft (DFG) gefördert - Projektnummer: </a:t>
            </a:r>
            <a:r>
              <a:rPr lang="de-DE" sz="1400" b="1" dirty="0">
                <a:solidFill>
                  <a:srgbClr val="009ED4"/>
                </a:solidFill>
                <a:latin typeface="Segoe UI Semibold" panose="020B0702040204020203" pitchFamily="34" charset="0"/>
                <a:ea typeface="Calibri" panose="020F0502020204030204" pitchFamily="34" charset="0"/>
                <a:cs typeface="Segoe UI Semibold" panose="020B0702040204020203" pitchFamily="34" charset="0"/>
              </a:rPr>
              <a:t>442494171</a:t>
            </a:r>
            <a:endParaRPr lang="de-DE" sz="1400" b="1" dirty="0">
              <a:solidFill>
                <a:srgbClr val="009ED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46797139-7AB7-4406-D1D8-317D468677C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719" y="2603079"/>
            <a:ext cx="4620690" cy="260078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76200"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3F63A2B0-63DA-B591-1F88-7CDAD3F7842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0918000">
            <a:off x="415134" y="6018483"/>
            <a:ext cx="329249" cy="443931"/>
          </a:xfrm>
          <a:prstGeom prst="rect">
            <a:avLst/>
          </a:prstGeom>
          <a:scene3d>
            <a:camera prst="orthographicFront">
              <a:rot lat="0" lon="10499980" rev="0"/>
            </a:camera>
            <a:lightRig rig="threePt" dir="t"/>
          </a:scene3d>
        </p:spPr>
      </p:pic>
    </p:spTree>
    <p:extLst>
      <p:ext uri="{BB962C8B-B14F-4D97-AF65-F5344CB8AC3E}">
        <p14:creationId xmlns:p14="http://schemas.microsoft.com/office/powerpoint/2010/main" val="37515901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B2CD6FC-C311-757B-9428-59871A2B8F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66DDEF-6F62-4E10-A7D9-534B7EFA16E6}" type="slidenum">
              <a:rPr lang="de-DE" smtClean="0"/>
              <a:t>18</a:t>
            </a:fld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53BD1CC-FF68-B84F-232C-202DC2FDA5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tzinfos</a:t>
            </a:r>
          </a:p>
        </p:txBody>
      </p:sp>
    </p:spTree>
    <p:extLst>
      <p:ext uri="{BB962C8B-B14F-4D97-AF65-F5344CB8AC3E}">
        <p14:creationId xmlns:p14="http://schemas.microsoft.com/office/powerpoint/2010/main" val="8311625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lowchart: Document 9">
            <a:extLst>
              <a:ext uri="{FF2B5EF4-FFF2-40B4-BE49-F238E27FC236}">
                <a16:creationId xmlns:a16="http://schemas.microsoft.com/office/drawing/2014/main" id="{D12DDE76-C203-4047-9998-63900085B5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8175" y="0"/>
            <a:ext cx="3248025" cy="3400426"/>
          </a:xfrm>
          <a:prstGeom prst="flowChartDocument">
            <a:avLst/>
          </a:prstGeom>
          <a:solidFill>
            <a:srgbClr val="4757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F68C8BD-DF3A-7456-7EDD-5DB00F12C9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71162"/>
            <a:ext cx="2840182" cy="237114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200" kern="12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Webseite</a:t>
            </a:r>
            <a:r>
              <a:rPr lang="en-US" sz="32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FDZ PIAAC</a:t>
            </a:r>
          </a:p>
        </p:txBody>
      </p:sp>
      <p:pic>
        <p:nvPicPr>
          <p:cNvPr id="5" name="Grafik 4">
            <a:hlinkClick r:id="rId2"/>
            <a:extLst>
              <a:ext uri="{FF2B5EF4-FFF2-40B4-BE49-F238E27FC236}">
                <a16:creationId xmlns:a16="http://schemas.microsoft.com/office/drawing/2014/main" id="{2369FAB9-362F-3D45-E52D-13F53D2A9A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7605" y="640080"/>
            <a:ext cx="6468192" cy="5578816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F110D250-ABDD-4AA4-08F8-AB11B8BC3B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26476" y="6356350"/>
            <a:ext cx="625443" cy="365125"/>
          </a:xfr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algn="l">
              <a:spcAft>
                <a:spcPts val="600"/>
              </a:spcAft>
            </a:pPr>
            <a:fld id="{5466DDEF-6F62-4E10-A7D9-534B7EFA16E6}" type="slidenum">
              <a:rPr lang="en-US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l">
                <a:spcAft>
                  <a:spcPts val="600"/>
                </a:spcAft>
              </a:pPr>
              <a:t>19</a:t>
            </a:fld>
            <a:endParaRPr lang="en-US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5CE37B97-94C1-DD7C-6E83-D8812B0A5DD6}"/>
              </a:ext>
            </a:extLst>
          </p:cNvPr>
          <p:cNvSpPr txBox="1"/>
          <p:nvPr/>
        </p:nvSpPr>
        <p:spPr>
          <a:xfrm>
            <a:off x="4805680" y="6261913"/>
            <a:ext cx="612079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200" dirty="0">
                <a:solidFill>
                  <a:schemeClr val="tx2"/>
                </a:solidFill>
                <a:hlinkClick r:id="rId2"/>
              </a:rPr>
              <a:t>https://www.gesis.org/piaac/fdz</a:t>
            </a:r>
            <a:endParaRPr lang="de-DE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15257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6701649-3B67-49AA-A50B-CDB44F3E33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66DDEF-6F62-4E10-A7D9-534B7EFA16E6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79EB81C7-9A55-432B-B59D-2FB03C1548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PIAAC </a:t>
            </a:r>
          </a:p>
        </p:txBody>
      </p:sp>
      <p:pic>
        <p:nvPicPr>
          <p:cNvPr id="45" name="Grafik 44">
            <a:extLst>
              <a:ext uri="{FF2B5EF4-FFF2-40B4-BE49-F238E27FC236}">
                <a16:creationId xmlns:a16="http://schemas.microsoft.com/office/drawing/2014/main" id="{676D9B4A-10C3-4190-8E00-DD1DB854A9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6379" y="4158290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46" name="Grafik 45">
            <a:extLst>
              <a:ext uri="{FF2B5EF4-FFF2-40B4-BE49-F238E27FC236}">
                <a16:creationId xmlns:a16="http://schemas.microsoft.com/office/drawing/2014/main" id="{6B70A165-C64F-452A-8179-8D8B7868B2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0" y="2500976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48" name="Grafik 47">
            <a:extLst>
              <a:ext uri="{FF2B5EF4-FFF2-40B4-BE49-F238E27FC236}">
                <a16:creationId xmlns:a16="http://schemas.microsoft.com/office/drawing/2014/main" id="{3917B101-57DD-4577-A2C9-F8C19365AF1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0" y="4991701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49" name="Grafik 48">
            <a:extLst>
              <a:ext uri="{FF2B5EF4-FFF2-40B4-BE49-F238E27FC236}">
                <a16:creationId xmlns:a16="http://schemas.microsoft.com/office/drawing/2014/main" id="{F3723C7A-95A1-4794-9753-EE19B730836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0" y="1675610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50" name="Grafik 49">
            <a:extLst>
              <a:ext uri="{FF2B5EF4-FFF2-40B4-BE49-F238E27FC236}">
                <a16:creationId xmlns:a16="http://schemas.microsoft.com/office/drawing/2014/main" id="{FBA96D5B-9CD9-48E7-B8F6-A7FC61C3A8D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1174" y="3334670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51" name="Grafik 50">
            <a:extLst>
              <a:ext uri="{FF2B5EF4-FFF2-40B4-BE49-F238E27FC236}">
                <a16:creationId xmlns:a16="http://schemas.microsoft.com/office/drawing/2014/main" id="{CCE25312-A48F-4902-AF9F-7430E1223CE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9727" y="4158290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52" name="Grafik 51">
            <a:extLst>
              <a:ext uri="{FF2B5EF4-FFF2-40B4-BE49-F238E27FC236}">
                <a16:creationId xmlns:a16="http://schemas.microsoft.com/office/drawing/2014/main" id="{17A8C417-0014-44B8-B4DA-699376417E1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0" y="3334670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53" name="Grafik 52">
            <a:extLst>
              <a:ext uri="{FF2B5EF4-FFF2-40B4-BE49-F238E27FC236}">
                <a16:creationId xmlns:a16="http://schemas.microsoft.com/office/drawing/2014/main" id="{C430EFAF-E006-496B-95F5-7B9707A42F3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421" y="4991701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7A4A7367-DE7A-4244-ABB5-EC4D0468478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9881" y="4991701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55" name="Grafik 54">
            <a:extLst>
              <a:ext uri="{FF2B5EF4-FFF2-40B4-BE49-F238E27FC236}">
                <a16:creationId xmlns:a16="http://schemas.microsoft.com/office/drawing/2014/main" id="{FBE2DB3C-36BD-4092-9920-F36B6C3C5BE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0" y="5818492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678C50E7-135E-476B-8B83-B50C71842C6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6379" y="2500976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8EFC2ADB-B917-49F8-BF71-BCEFF77968D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421" y="1675610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EE2212EE-FA66-41C6-A886-AF19FA94BD4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9881" y="2500976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59" name="Grafik 58">
            <a:extLst>
              <a:ext uri="{FF2B5EF4-FFF2-40B4-BE49-F238E27FC236}">
                <a16:creationId xmlns:a16="http://schemas.microsoft.com/office/drawing/2014/main" id="{8FD59E51-185B-4CDF-991C-5ACC1687203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1174" y="4158290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76200">
            <a:solidFill>
              <a:srgbClr val="009ED4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60" name="Grafik 59">
            <a:extLst>
              <a:ext uri="{FF2B5EF4-FFF2-40B4-BE49-F238E27FC236}">
                <a16:creationId xmlns:a16="http://schemas.microsoft.com/office/drawing/2014/main" id="{C8256D89-05DB-43D9-A3CC-2E31D67E46E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9727" y="2500976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61" name="Grafik 60">
            <a:extLst>
              <a:ext uri="{FF2B5EF4-FFF2-40B4-BE49-F238E27FC236}">
                <a16:creationId xmlns:a16="http://schemas.microsoft.com/office/drawing/2014/main" id="{E4D6D4C2-AF7B-4483-9D38-BF4A193FB86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9727" y="1675610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62" name="Grafik 61">
            <a:extLst>
              <a:ext uri="{FF2B5EF4-FFF2-40B4-BE49-F238E27FC236}">
                <a16:creationId xmlns:a16="http://schemas.microsoft.com/office/drawing/2014/main" id="{D6C24F37-EB34-47EB-AB7E-AD249B115ACD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9881" y="1675610"/>
            <a:ext cx="1308099" cy="73627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63" name="Grafik 62">
            <a:extLst>
              <a:ext uri="{FF2B5EF4-FFF2-40B4-BE49-F238E27FC236}">
                <a16:creationId xmlns:a16="http://schemas.microsoft.com/office/drawing/2014/main" id="{43E38615-BC7B-481D-9C18-EFD7E1BDC6A2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3663" y="5818492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64" name="Grafik 63">
            <a:extLst>
              <a:ext uri="{FF2B5EF4-FFF2-40B4-BE49-F238E27FC236}">
                <a16:creationId xmlns:a16="http://schemas.microsoft.com/office/drawing/2014/main" id="{2F4F09F4-D36E-4591-9463-CC5D4E1B1076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1174" y="1675610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65" name="Grafik 64">
            <a:extLst>
              <a:ext uri="{FF2B5EF4-FFF2-40B4-BE49-F238E27FC236}">
                <a16:creationId xmlns:a16="http://schemas.microsoft.com/office/drawing/2014/main" id="{A7A931F8-5573-49A8-9DFC-EA0D1855DD54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3663" y="4991701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66" name="Grafik 65">
            <a:extLst>
              <a:ext uri="{FF2B5EF4-FFF2-40B4-BE49-F238E27FC236}">
                <a16:creationId xmlns:a16="http://schemas.microsoft.com/office/drawing/2014/main" id="{10C4FE8A-E761-4261-BE32-5A40507912C6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3663" y="1675610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68" name="Grafik 67">
            <a:extLst>
              <a:ext uri="{FF2B5EF4-FFF2-40B4-BE49-F238E27FC236}">
                <a16:creationId xmlns:a16="http://schemas.microsoft.com/office/drawing/2014/main" id="{A58B1B0B-1701-4372-B728-DD202F0DB193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421" y="3334670"/>
            <a:ext cx="1308098" cy="736272"/>
          </a:xfrm>
          <a:prstGeom prst="rect">
            <a:avLst/>
          </a:prstGeom>
          <a:noFill/>
          <a:ln w="6350">
            <a:solidFill>
              <a:schemeClr val="bg2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8C528BEB-AEAB-4E42-B67F-78622398C17B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9727" y="4991701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70" name="Grafik 69">
            <a:extLst>
              <a:ext uri="{FF2B5EF4-FFF2-40B4-BE49-F238E27FC236}">
                <a16:creationId xmlns:a16="http://schemas.microsoft.com/office/drawing/2014/main" id="{EB273EB9-81A0-4B49-A752-D0A392CA71D6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6379" y="3334670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71" name="Grafik 70">
            <a:extLst>
              <a:ext uri="{FF2B5EF4-FFF2-40B4-BE49-F238E27FC236}">
                <a16:creationId xmlns:a16="http://schemas.microsoft.com/office/drawing/2014/main" id="{D528E5BA-0D7A-4AF7-B119-7195A860D85E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9881" y="3334670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73" name="Grafik 72">
            <a:extLst>
              <a:ext uri="{FF2B5EF4-FFF2-40B4-BE49-F238E27FC236}">
                <a16:creationId xmlns:a16="http://schemas.microsoft.com/office/drawing/2014/main" id="{58FD003C-5D4B-4967-86B4-2E45C2B76E13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421" y="5818492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74" name="Grafik 73">
            <a:extLst>
              <a:ext uri="{FF2B5EF4-FFF2-40B4-BE49-F238E27FC236}">
                <a16:creationId xmlns:a16="http://schemas.microsoft.com/office/drawing/2014/main" id="{1BD4A5C8-ADCC-4DF9-BAAF-7DA569685E60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421" y="2500976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75" name="Grafik 74">
            <a:extLst>
              <a:ext uri="{FF2B5EF4-FFF2-40B4-BE49-F238E27FC236}">
                <a16:creationId xmlns:a16="http://schemas.microsoft.com/office/drawing/2014/main" id="{C4FE0545-C8F1-4ADC-969C-0E7D2E08263D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3663" y="2500976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76" name="Grafik 75">
            <a:extLst>
              <a:ext uri="{FF2B5EF4-FFF2-40B4-BE49-F238E27FC236}">
                <a16:creationId xmlns:a16="http://schemas.microsoft.com/office/drawing/2014/main" id="{56AE5528-0454-4989-864D-AAEB7C405950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0" y="4158290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77" name="Grafik 76">
            <a:extLst>
              <a:ext uri="{FF2B5EF4-FFF2-40B4-BE49-F238E27FC236}">
                <a16:creationId xmlns:a16="http://schemas.microsoft.com/office/drawing/2014/main" id="{E5E7C161-07B6-45C7-89DF-4559A514AD0F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9881" y="4158290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  <p:pic>
        <p:nvPicPr>
          <p:cNvPr id="78" name="Grafik 77">
            <a:extLst>
              <a:ext uri="{FF2B5EF4-FFF2-40B4-BE49-F238E27FC236}">
                <a16:creationId xmlns:a16="http://schemas.microsoft.com/office/drawing/2014/main" id="{A59F4F1A-73F9-4A9E-82A1-2EE6CB7356FC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1174" y="2500976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</p:pic>
      <p:pic>
        <p:nvPicPr>
          <p:cNvPr id="79" name="Grafik 78">
            <a:extLst>
              <a:ext uri="{FF2B5EF4-FFF2-40B4-BE49-F238E27FC236}">
                <a16:creationId xmlns:a16="http://schemas.microsoft.com/office/drawing/2014/main" id="{DA33E0BB-5AAC-408C-BA39-70766F15E51A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9881" y="5818492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</p:pic>
      <p:pic>
        <p:nvPicPr>
          <p:cNvPr id="80" name="Grafik 79">
            <a:extLst>
              <a:ext uri="{FF2B5EF4-FFF2-40B4-BE49-F238E27FC236}">
                <a16:creationId xmlns:a16="http://schemas.microsoft.com/office/drawing/2014/main" id="{2FE20452-97CB-4288-9CA0-4321AB82E041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9727" y="5818492"/>
            <a:ext cx="1308098" cy="73627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</p:pic>
      <p:pic>
        <p:nvPicPr>
          <p:cNvPr id="81" name="Grafik 80">
            <a:extLst>
              <a:ext uri="{FF2B5EF4-FFF2-40B4-BE49-F238E27FC236}">
                <a16:creationId xmlns:a16="http://schemas.microsoft.com/office/drawing/2014/main" id="{D7799A1E-C0BF-4E36-8946-F00AD2F0B28F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9421" y="4158290"/>
            <a:ext cx="1308099" cy="73627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</p:pic>
      <p:pic>
        <p:nvPicPr>
          <p:cNvPr id="82" name="Grafik 81">
            <a:extLst>
              <a:ext uri="{FF2B5EF4-FFF2-40B4-BE49-F238E27FC236}">
                <a16:creationId xmlns:a16="http://schemas.microsoft.com/office/drawing/2014/main" id="{2DB71DB7-ADBF-40C7-B0F1-00ECB8A85094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1174" y="4991701"/>
            <a:ext cx="1308098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6350">
            <a:solidFill>
              <a:schemeClr val="bg1">
                <a:lumMod val="95000"/>
              </a:schemeClr>
            </a:solidFill>
          </a:ln>
        </p:spPr>
      </p:pic>
      <p:pic>
        <p:nvPicPr>
          <p:cNvPr id="83" name="Grafik 82">
            <a:extLst>
              <a:ext uri="{FF2B5EF4-FFF2-40B4-BE49-F238E27FC236}">
                <a16:creationId xmlns:a16="http://schemas.microsoft.com/office/drawing/2014/main" id="{44921F8E-0B5E-41BF-B132-535A5211FA1F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3663" y="3334670"/>
            <a:ext cx="1308098" cy="736272"/>
          </a:xfrm>
          <a:prstGeom prst="rect">
            <a:avLst/>
          </a:prstGeom>
          <a:ln w="6350">
            <a:solidFill>
              <a:schemeClr val="bg1">
                <a:lumMod val="95000"/>
              </a:schemeClr>
            </a:solidFill>
          </a:ln>
        </p:spPr>
      </p:pic>
      <p:pic>
        <p:nvPicPr>
          <p:cNvPr id="84" name="Grafik 83">
            <a:extLst>
              <a:ext uri="{FF2B5EF4-FFF2-40B4-BE49-F238E27FC236}">
                <a16:creationId xmlns:a16="http://schemas.microsoft.com/office/drawing/2014/main" id="{FC7F0DF9-9D03-4686-B7D1-7EF510558405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6378" y="5818492"/>
            <a:ext cx="1308099" cy="736272"/>
          </a:xfrm>
          <a:prstGeom prst="rect">
            <a:avLst/>
          </a:prstGeom>
          <a:ln w="6350">
            <a:solidFill>
              <a:schemeClr val="bg1">
                <a:lumMod val="95000"/>
              </a:schemeClr>
            </a:solidFill>
          </a:ln>
        </p:spPr>
      </p:pic>
      <p:pic>
        <p:nvPicPr>
          <p:cNvPr id="85" name="Grafik 84">
            <a:extLst>
              <a:ext uri="{FF2B5EF4-FFF2-40B4-BE49-F238E27FC236}">
                <a16:creationId xmlns:a16="http://schemas.microsoft.com/office/drawing/2014/main" id="{30EDFF2E-3582-4AB2-A1B5-FA7B4B20B27C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6378" y="4994872"/>
            <a:ext cx="1308098" cy="736272"/>
          </a:xfrm>
          <a:prstGeom prst="rect">
            <a:avLst/>
          </a:prstGeom>
          <a:ln w="6350">
            <a:solidFill>
              <a:schemeClr val="bg1">
                <a:lumMod val="95000"/>
              </a:schemeClr>
            </a:solidFill>
          </a:ln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32B85DEF-1877-4356-A8F7-C00BE7927E0A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6378" y="1674746"/>
            <a:ext cx="1311168" cy="738000"/>
          </a:xfrm>
          <a:prstGeom prst="rect">
            <a:avLst/>
          </a:prstGeom>
          <a:ln w="6350">
            <a:solidFill>
              <a:schemeClr val="bg1">
                <a:lumMod val="95000"/>
              </a:schemeClr>
            </a:solidFill>
          </a:ln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65387C89-4DA4-4EF7-B382-EF6B69A602B1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8192" y="3329771"/>
            <a:ext cx="1311168" cy="738000"/>
          </a:xfrm>
          <a:prstGeom prst="rect">
            <a:avLst/>
          </a:prstGeom>
          <a:ln w="6350">
            <a:solidFill>
              <a:schemeClr val="bg1">
                <a:lumMod val="95000"/>
              </a:schemeClr>
            </a:solidFill>
          </a:ln>
        </p:spPr>
      </p:pic>
      <p:pic>
        <p:nvPicPr>
          <p:cNvPr id="67" name="Grafik 66">
            <a:extLst>
              <a:ext uri="{FF2B5EF4-FFF2-40B4-BE49-F238E27FC236}">
                <a16:creationId xmlns:a16="http://schemas.microsoft.com/office/drawing/2014/main" id="{CDA9980E-FA97-4C49-8FF8-5BCC55C310EE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9148" y="5818491"/>
            <a:ext cx="1308099" cy="736273"/>
          </a:xfrm>
          <a:prstGeom prst="rect">
            <a:avLst/>
          </a:prstGeom>
          <a:ln w="6350">
            <a:solidFill>
              <a:schemeClr val="bg1">
                <a:lumMod val="95000"/>
              </a:schemeClr>
            </a:solidFill>
          </a:ln>
        </p:spPr>
      </p:pic>
      <p:pic>
        <p:nvPicPr>
          <p:cNvPr id="47" name="Grafik 46">
            <a:extLst>
              <a:ext uri="{FF2B5EF4-FFF2-40B4-BE49-F238E27FC236}">
                <a16:creationId xmlns:a16="http://schemas.microsoft.com/office/drawing/2014/main" id="{A1B4AE92-B453-43C2-9CD7-B794D2DDB918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4710" y="4193476"/>
            <a:ext cx="1308099" cy="736272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76200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</p:pic>
    </p:spTree>
    <p:extLst>
      <p:ext uri="{BB962C8B-B14F-4D97-AF65-F5344CB8AC3E}">
        <p14:creationId xmlns:p14="http://schemas.microsoft.com/office/powerpoint/2010/main" val="1706849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Document 9">
            <a:extLst>
              <a:ext uri="{FF2B5EF4-FFF2-40B4-BE49-F238E27FC236}">
                <a16:creationId xmlns:a16="http://schemas.microsoft.com/office/drawing/2014/main" id="{D12DDE76-C203-4047-9998-63900085B5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38175" y="0"/>
            <a:ext cx="3248025" cy="3400426"/>
          </a:xfrm>
          <a:prstGeom prst="flowChartDocument">
            <a:avLst/>
          </a:prstGeom>
          <a:solidFill>
            <a:srgbClr val="3F42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0996FD-C866-52DB-DC7D-B2446C4994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71162"/>
            <a:ext cx="2840182" cy="2371148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2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OECD Skills Surveys </a:t>
            </a:r>
          </a:p>
        </p:txBody>
      </p:sp>
      <p:pic>
        <p:nvPicPr>
          <p:cNvPr id="5" name="Grafik 4">
            <a:hlinkClick r:id="rId2"/>
            <a:extLst>
              <a:ext uri="{FF2B5EF4-FFF2-40B4-BE49-F238E27FC236}">
                <a16:creationId xmlns:a16="http://schemas.microsoft.com/office/drawing/2014/main" id="{A89E30B8-6EE0-1FFD-F948-6000729F8F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9816" y="639592"/>
            <a:ext cx="6582673" cy="5578816"/>
          </a:xfrm>
          <a:prstGeom prst="rect">
            <a:avLst/>
          </a:prstGeom>
        </p:spPr>
      </p:pic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EB10E79-E219-EC10-AD03-F4527F7816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26476" y="6356350"/>
            <a:ext cx="625443" cy="365125"/>
          </a:xfr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algn="l">
              <a:spcAft>
                <a:spcPts val="600"/>
              </a:spcAft>
            </a:pPr>
            <a:fld id="{5466DDEF-6F62-4E10-A7D9-534B7EFA16E6}" type="slidenum">
              <a:rPr lang="en-US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l">
                <a:spcAft>
                  <a:spcPts val="600"/>
                </a:spcAft>
              </a:pPr>
              <a:t>20</a:t>
            </a:fld>
            <a:endParaRPr lang="en-US" dirty="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2B465EB-B225-7F3B-B27C-44BE4408897C}"/>
              </a:ext>
            </a:extLst>
          </p:cNvPr>
          <p:cNvSpPr txBox="1"/>
          <p:nvPr/>
        </p:nvSpPr>
        <p:spPr>
          <a:xfrm>
            <a:off x="4805680" y="6261913"/>
            <a:ext cx="612079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200" dirty="0">
                <a:solidFill>
                  <a:schemeClr val="tx2"/>
                </a:solidFill>
              </a:rPr>
              <a:t>https://www.oecd.org/skills/piaac</a:t>
            </a:r>
          </a:p>
        </p:txBody>
      </p:sp>
    </p:spTree>
    <p:extLst>
      <p:ext uri="{BB962C8B-B14F-4D97-AF65-F5344CB8AC3E}">
        <p14:creationId xmlns:p14="http://schemas.microsoft.com/office/powerpoint/2010/main" val="421962356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BA77DA7C-B30E-9D39-EFB3-109BAD844D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1" y="1138265"/>
            <a:ext cx="3276599" cy="290929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32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PIAAC -  </a:t>
            </a:r>
            <a:r>
              <a:rPr lang="en-US" sz="32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Kompetenzen</a:t>
            </a:r>
            <a:r>
              <a:rPr lang="en-US" sz="3200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: </a:t>
            </a:r>
            <a:r>
              <a:rPr lang="en-US" sz="3200" kern="1200" dirty="0" err="1">
                <a:solidFill>
                  <a:schemeClr val="tx1"/>
                </a:solidFill>
                <a:latin typeface="+mj-lt"/>
                <a:ea typeface="+mj-ea"/>
                <a:cs typeface="+mj-cs"/>
              </a:rPr>
              <a:t>Beispielaufgaben</a:t>
            </a:r>
            <a:endParaRPr lang="en-US" sz="3200" kern="1200" dirty="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cxnSp>
        <p:nvCxnSpPr>
          <p:cNvPr id="15" name="Straight Connector 10">
            <a:extLst>
              <a:ext uri="{FF2B5EF4-FFF2-40B4-BE49-F238E27FC236}">
                <a16:creationId xmlns:a16="http://schemas.microsoft.com/office/drawing/2014/main" id="{00CD8E7C-C23B-A3B9-B18A-838AED877A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65140" y="871146"/>
            <a:ext cx="736939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 descr="Ein Bild, das Kleidung, Text, Person, Mann enthält.&#10;&#10;Automatisch generierte Beschreibung">
            <a:extLst>
              <a:ext uri="{FF2B5EF4-FFF2-40B4-BE49-F238E27FC236}">
                <a16:creationId xmlns:a16="http://schemas.microsoft.com/office/drawing/2014/main" id="{7A7F92DE-D8D9-C0AC-5AF1-9ADACF9E6D7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3705" b="-260"/>
          <a:stretch/>
        </p:blipFill>
        <p:spPr>
          <a:xfrm>
            <a:off x="4200042" y="1138265"/>
            <a:ext cx="7423676" cy="4915504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AE59AC39-42A8-9F93-3368-0EE4B634B88E}"/>
              </a:ext>
            </a:extLst>
          </p:cNvPr>
          <p:cNvSpPr txBox="1"/>
          <p:nvPr/>
        </p:nvSpPr>
        <p:spPr>
          <a:xfrm>
            <a:off x="4994978" y="6326636"/>
            <a:ext cx="421472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12648">
              <a:spcAft>
                <a:spcPts val="600"/>
              </a:spcAft>
            </a:pPr>
            <a:r>
              <a:rPr lang="de-DE" sz="10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Quelle: https://www.gesis.org/piaac/piaac-2022/beispielaufgaben</a:t>
            </a:r>
            <a:endParaRPr lang="de-DE" sz="1000" dirty="0"/>
          </a:p>
        </p:txBody>
      </p:sp>
      <p:sp>
        <p:nvSpPr>
          <p:cNvPr id="6" name="Foliennummernplatzhalter 1">
            <a:extLst>
              <a:ext uri="{FF2B5EF4-FFF2-40B4-BE49-F238E27FC236}">
                <a16:creationId xmlns:a16="http://schemas.microsoft.com/office/drawing/2014/main" id="{50975BD3-628C-65A7-5D3B-CECCA7DD2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26476" y="6356350"/>
            <a:ext cx="625443" cy="365125"/>
          </a:xfr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algn="l">
              <a:spcAft>
                <a:spcPts val="600"/>
              </a:spcAft>
            </a:pPr>
            <a:fld id="{5466DDEF-6F62-4E10-A7D9-534B7EFA16E6}" type="slidenum">
              <a:rPr lang="en-US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l">
                <a:spcAft>
                  <a:spcPts val="600"/>
                </a:spcAft>
              </a:pPr>
              <a:t>21</a:t>
            </a:fld>
            <a:endParaRPr lang="en-US" dirty="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295813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EDDBB197-D710-4A4F-A9CA-FD2177498B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75D1CFA-2CDB-4B64-BD9F-85744E8DA1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5" y="0"/>
            <a:ext cx="1219169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7199C7-326B-769A-EFC5-A6DAA6A7AF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4671" y="802955"/>
            <a:ext cx="5481827" cy="1454051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sz="3200" dirty="0"/>
              <a:t>PIAAC – </a:t>
            </a:r>
            <a:br>
              <a:rPr lang="en-US" sz="3200" dirty="0"/>
            </a:br>
            <a:r>
              <a:rPr lang="en-US" sz="3200" dirty="0" err="1"/>
              <a:t>Hintergrundfragebogen</a:t>
            </a:r>
            <a:endParaRPr lang="en-US" sz="320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5EE5136-01F1-466C-962D-BA9B4C6757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6369897" y="0"/>
            <a:ext cx="5822103" cy="6685267"/>
            <a:chOff x="6357228" y="0"/>
            <a:chExt cx="5822103" cy="6685267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11D3AD4-AF9B-4EB5-8C7B-C45D173B4B5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357228" y="0"/>
              <a:ext cx="5822102" cy="6685267"/>
            </a:xfrm>
            <a:custGeom>
              <a:avLst/>
              <a:gdLst>
                <a:gd name="connsiteX0" fmla="*/ 2605444 w 5822102"/>
                <a:gd name="connsiteY0" fmla="*/ 0 h 6685267"/>
                <a:gd name="connsiteX1" fmla="*/ 4757391 w 5822102"/>
                <a:gd name="connsiteY1" fmla="*/ 0 h 6685267"/>
                <a:gd name="connsiteX2" fmla="*/ 4913680 w 5822102"/>
                <a:gd name="connsiteY2" fmla="*/ 56274 h 6685267"/>
                <a:gd name="connsiteX3" fmla="*/ 5376238 w 5822102"/>
                <a:gd name="connsiteY3" fmla="*/ 282027 h 6685267"/>
                <a:gd name="connsiteX4" fmla="*/ 5658024 w 5822102"/>
                <a:gd name="connsiteY4" fmla="*/ 471014 h 6685267"/>
                <a:gd name="connsiteX5" fmla="*/ 5822102 w 5822102"/>
                <a:gd name="connsiteY5" fmla="*/ 609109 h 6685267"/>
                <a:gd name="connsiteX6" fmla="*/ 5822102 w 5822102"/>
                <a:gd name="connsiteY6" fmla="*/ 760697 h 6685267"/>
                <a:gd name="connsiteX7" fmla="*/ 5707785 w 5822102"/>
                <a:gd name="connsiteY7" fmla="*/ 666601 h 6685267"/>
                <a:gd name="connsiteX8" fmla="*/ 5577306 w 5822102"/>
                <a:gd name="connsiteY8" fmla="*/ 571666 h 6685267"/>
                <a:gd name="connsiteX9" fmla="*/ 5298630 w 5822102"/>
                <a:gd name="connsiteY9" fmla="*/ 407449 h 6685267"/>
                <a:gd name="connsiteX10" fmla="*/ 4690768 w 5822102"/>
                <a:gd name="connsiteY10" fmla="*/ 184979 h 6685267"/>
                <a:gd name="connsiteX11" fmla="*/ 4048577 w 5822102"/>
                <a:gd name="connsiteY11" fmla="*/ 99280 h 6685267"/>
                <a:gd name="connsiteX12" fmla="*/ 3405404 w 5822102"/>
                <a:gd name="connsiteY12" fmla="*/ 131937 h 6685267"/>
                <a:gd name="connsiteX13" fmla="*/ 3089702 w 5822102"/>
                <a:gd name="connsiteY13" fmla="*/ 190190 h 6685267"/>
                <a:gd name="connsiteX14" fmla="*/ 2780132 w 5822102"/>
                <a:gd name="connsiteY14" fmla="*/ 273457 h 6685267"/>
                <a:gd name="connsiteX15" fmla="*/ 2478040 w 5822102"/>
                <a:gd name="connsiteY15" fmla="*/ 379654 h 6685267"/>
                <a:gd name="connsiteX16" fmla="*/ 2184897 w 5822102"/>
                <a:gd name="connsiteY16" fmla="*/ 507972 h 6685267"/>
                <a:gd name="connsiteX17" fmla="*/ 1629141 w 5822102"/>
                <a:gd name="connsiteY17" fmla="*/ 823205 h 6685267"/>
                <a:gd name="connsiteX18" fmla="*/ 1497711 w 5822102"/>
                <a:gd name="connsiteY18" fmla="*/ 914000 h 6685267"/>
                <a:gd name="connsiteX19" fmla="*/ 1433099 w 5822102"/>
                <a:gd name="connsiteY19" fmla="*/ 960903 h 6685267"/>
                <a:gd name="connsiteX20" fmla="*/ 1369346 w 5822102"/>
                <a:gd name="connsiteY20" fmla="*/ 1008963 h 6685267"/>
                <a:gd name="connsiteX21" fmla="*/ 1123406 w 5822102"/>
                <a:gd name="connsiteY21" fmla="*/ 1212905 h 6685267"/>
                <a:gd name="connsiteX22" fmla="*/ 684367 w 5822102"/>
                <a:gd name="connsiteY22" fmla="*/ 1675564 h 6685267"/>
                <a:gd name="connsiteX23" fmla="*/ 497153 w 5822102"/>
                <a:gd name="connsiteY23" fmla="*/ 1933588 h 6685267"/>
                <a:gd name="connsiteX24" fmla="*/ 337770 w 5822102"/>
                <a:gd name="connsiteY24" fmla="*/ 2208983 h 6685267"/>
                <a:gd name="connsiteX25" fmla="*/ 302461 w 5822102"/>
                <a:gd name="connsiteY25" fmla="*/ 2280207 h 6685267"/>
                <a:gd name="connsiteX26" fmla="*/ 285296 w 5822102"/>
                <a:gd name="connsiteY26" fmla="*/ 2316107 h 6685267"/>
                <a:gd name="connsiteX27" fmla="*/ 268991 w 5822102"/>
                <a:gd name="connsiteY27" fmla="*/ 2352355 h 6685267"/>
                <a:gd name="connsiteX28" fmla="*/ 237849 w 5822102"/>
                <a:gd name="connsiteY28" fmla="*/ 2425432 h 6685267"/>
                <a:gd name="connsiteX29" fmla="*/ 208670 w 5822102"/>
                <a:gd name="connsiteY29" fmla="*/ 2499319 h 6685267"/>
                <a:gd name="connsiteX30" fmla="*/ 113775 w 5822102"/>
                <a:gd name="connsiteY30" fmla="*/ 2801929 h 6685267"/>
                <a:gd name="connsiteX31" fmla="*/ 36781 w 5822102"/>
                <a:gd name="connsiteY31" fmla="*/ 3428922 h 6685267"/>
                <a:gd name="connsiteX32" fmla="*/ 69148 w 5822102"/>
                <a:gd name="connsiteY32" fmla="*/ 3741955 h 6685267"/>
                <a:gd name="connsiteX33" fmla="*/ 167966 w 5822102"/>
                <a:gd name="connsiteY33" fmla="*/ 4041323 h 6685267"/>
                <a:gd name="connsiteX34" fmla="*/ 202049 w 5822102"/>
                <a:gd name="connsiteY34" fmla="*/ 4112894 h 6685267"/>
                <a:gd name="connsiteX35" fmla="*/ 239933 w 5822102"/>
                <a:gd name="connsiteY35" fmla="*/ 4182843 h 6685267"/>
                <a:gd name="connsiteX36" fmla="*/ 323916 w 5822102"/>
                <a:gd name="connsiteY36" fmla="*/ 4318456 h 6685267"/>
                <a:gd name="connsiteX37" fmla="*/ 416604 w 5822102"/>
                <a:gd name="connsiteY37" fmla="*/ 4449436 h 6685267"/>
                <a:gd name="connsiteX38" fmla="*/ 515911 w 5822102"/>
                <a:gd name="connsiteY38" fmla="*/ 4576711 h 6685267"/>
                <a:gd name="connsiteX39" fmla="*/ 722619 w 5822102"/>
                <a:gd name="connsiteY39" fmla="*/ 4828482 h 6685267"/>
                <a:gd name="connsiteX40" fmla="*/ 825972 w 5822102"/>
                <a:gd name="connsiteY40" fmla="*/ 4956104 h 6685267"/>
                <a:gd name="connsiteX41" fmla="*/ 926506 w 5822102"/>
                <a:gd name="connsiteY41" fmla="*/ 5085347 h 6685267"/>
                <a:gd name="connsiteX42" fmla="*/ 1027040 w 5822102"/>
                <a:gd name="connsiteY42" fmla="*/ 5210191 h 6685267"/>
                <a:gd name="connsiteX43" fmla="*/ 1132110 w 5822102"/>
                <a:gd name="connsiteY43" fmla="*/ 5330748 h 6685267"/>
                <a:gd name="connsiteX44" fmla="*/ 1354880 w 5822102"/>
                <a:gd name="connsiteY44" fmla="*/ 5558083 h 6685267"/>
                <a:gd name="connsiteX45" fmla="*/ 1855220 w 5822102"/>
                <a:gd name="connsiteY45" fmla="*/ 5937591 h 6685267"/>
                <a:gd name="connsiteX46" fmla="*/ 2131810 w 5822102"/>
                <a:gd name="connsiteY46" fmla="*/ 6080268 h 6685267"/>
                <a:gd name="connsiteX47" fmla="*/ 2423726 w 5822102"/>
                <a:gd name="connsiteY47" fmla="*/ 6188087 h 6685267"/>
                <a:gd name="connsiteX48" fmla="*/ 2727780 w 5822102"/>
                <a:gd name="connsiteY48" fmla="*/ 6262552 h 6685267"/>
                <a:gd name="connsiteX49" fmla="*/ 3041276 w 5822102"/>
                <a:gd name="connsiteY49" fmla="*/ 6304245 h 6685267"/>
                <a:gd name="connsiteX50" fmla="*/ 3360532 w 5822102"/>
                <a:gd name="connsiteY50" fmla="*/ 6317331 h 6685267"/>
                <a:gd name="connsiteX51" fmla="*/ 3439855 w 5822102"/>
                <a:gd name="connsiteY51" fmla="*/ 6316751 h 6685267"/>
                <a:gd name="connsiteX52" fmla="*/ 3478721 w 5822102"/>
                <a:gd name="connsiteY52" fmla="*/ 6315826 h 6685267"/>
                <a:gd name="connsiteX53" fmla="*/ 3517463 w 5822102"/>
                <a:gd name="connsiteY53" fmla="*/ 6313971 h 6685267"/>
                <a:gd name="connsiteX54" fmla="*/ 3671452 w 5822102"/>
                <a:gd name="connsiteY54" fmla="*/ 6301233 h 6685267"/>
                <a:gd name="connsiteX55" fmla="*/ 4265460 w 5822102"/>
                <a:gd name="connsiteY55" fmla="*/ 6149638 h 6685267"/>
                <a:gd name="connsiteX56" fmla="*/ 4546587 w 5822102"/>
                <a:gd name="connsiteY56" fmla="*/ 6018079 h 6685267"/>
                <a:gd name="connsiteX57" fmla="*/ 4818030 w 5822102"/>
                <a:gd name="connsiteY57" fmla="*/ 5858029 h 6685267"/>
                <a:gd name="connsiteX58" fmla="*/ 5081870 w 5822102"/>
                <a:gd name="connsiteY58" fmla="*/ 5676903 h 6685267"/>
                <a:gd name="connsiteX59" fmla="*/ 5212073 w 5822102"/>
                <a:gd name="connsiteY59" fmla="*/ 5581013 h 6685267"/>
                <a:gd name="connsiteX60" fmla="*/ 5343625 w 5822102"/>
                <a:gd name="connsiteY60" fmla="*/ 5481533 h 6685267"/>
                <a:gd name="connsiteX61" fmla="*/ 5610378 w 5822102"/>
                <a:gd name="connsiteY61" fmla="*/ 5284425 h 6685267"/>
                <a:gd name="connsiteX62" fmla="*/ 5822102 w 5822102"/>
                <a:gd name="connsiteY62" fmla="*/ 5126414 h 6685267"/>
                <a:gd name="connsiteX63" fmla="*/ 5822102 w 5822102"/>
                <a:gd name="connsiteY63" fmla="*/ 5556641 h 6685267"/>
                <a:gd name="connsiteX64" fmla="*/ 5576325 w 5822102"/>
                <a:gd name="connsiteY64" fmla="*/ 5749979 h 6685267"/>
                <a:gd name="connsiteX65" fmla="*/ 5447715 w 5822102"/>
                <a:gd name="connsiteY65" fmla="*/ 5852818 h 6685267"/>
                <a:gd name="connsiteX66" fmla="*/ 5315059 w 5822102"/>
                <a:gd name="connsiteY66" fmla="*/ 5956236 h 6685267"/>
                <a:gd name="connsiteX67" fmla="*/ 5038468 w 5822102"/>
                <a:gd name="connsiteY67" fmla="*/ 6155776 h 6685267"/>
                <a:gd name="connsiteX68" fmla="*/ 4741892 w 5822102"/>
                <a:gd name="connsiteY68" fmla="*/ 6338292 h 6685267"/>
                <a:gd name="connsiteX69" fmla="*/ 4420920 w 5822102"/>
                <a:gd name="connsiteY69" fmla="*/ 6492203 h 6685267"/>
                <a:gd name="connsiteX70" fmla="*/ 3717672 w 5822102"/>
                <a:gd name="connsiteY70" fmla="*/ 6670434 h 6685267"/>
                <a:gd name="connsiteX71" fmla="*/ 3535853 w 5822102"/>
                <a:gd name="connsiteY71" fmla="*/ 6683289 h 6685267"/>
                <a:gd name="connsiteX72" fmla="*/ 3490367 w 5822102"/>
                <a:gd name="connsiteY72" fmla="*/ 6684910 h 6685267"/>
                <a:gd name="connsiteX73" fmla="*/ 3445005 w 5822102"/>
                <a:gd name="connsiteY73" fmla="*/ 6685142 h 6685267"/>
                <a:gd name="connsiteX74" fmla="*/ 3355872 w 5822102"/>
                <a:gd name="connsiteY74" fmla="*/ 6684100 h 6685267"/>
                <a:gd name="connsiteX75" fmla="*/ 3179203 w 5822102"/>
                <a:gd name="connsiteY75" fmla="*/ 6677150 h 6685267"/>
                <a:gd name="connsiteX76" fmla="*/ 3002410 w 5822102"/>
                <a:gd name="connsiteY76" fmla="*/ 6661169 h 6685267"/>
                <a:gd name="connsiteX77" fmla="*/ 2650296 w 5822102"/>
                <a:gd name="connsiteY77" fmla="*/ 6604191 h 6685267"/>
                <a:gd name="connsiteX78" fmla="*/ 2306028 w 5822102"/>
                <a:gd name="connsiteY78" fmla="*/ 6505869 h 6685267"/>
                <a:gd name="connsiteX79" fmla="*/ 1978803 w 5822102"/>
                <a:gd name="connsiteY79" fmla="*/ 6363307 h 6685267"/>
                <a:gd name="connsiteX80" fmla="*/ 1678428 w 5822102"/>
                <a:gd name="connsiteY80" fmla="*/ 6177779 h 6685267"/>
                <a:gd name="connsiteX81" fmla="*/ 1175880 w 5822102"/>
                <a:gd name="connsiteY81" fmla="*/ 5710373 h 6685267"/>
                <a:gd name="connsiteX82" fmla="*/ 971502 w 5822102"/>
                <a:gd name="connsiteY82" fmla="*/ 5445399 h 6685267"/>
                <a:gd name="connsiteX83" fmla="*/ 790909 w 5822102"/>
                <a:gd name="connsiteY83" fmla="*/ 5169078 h 6685267"/>
                <a:gd name="connsiteX84" fmla="*/ 706680 w 5822102"/>
                <a:gd name="connsiteY84" fmla="*/ 5031959 h 6685267"/>
                <a:gd name="connsiteX85" fmla="*/ 619143 w 5822102"/>
                <a:gd name="connsiteY85" fmla="*/ 4897157 h 6685267"/>
                <a:gd name="connsiteX86" fmla="*/ 436465 w 5822102"/>
                <a:gd name="connsiteY86" fmla="*/ 4628710 h 6685267"/>
                <a:gd name="connsiteX87" fmla="*/ 347088 w 5822102"/>
                <a:gd name="connsiteY87" fmla="*/ 4492171 h 6685267"/>
                <a:gd name="connsiteX88" fmla="*/ 262001 w 5822102"/>
                <a:gd name="connsiteY88" fmla="*/ 4352619 h 6685267"/>
                <a:gd name="connsiteX89" fmla="*/ 118679 w 5822102"/>
                <a:gd name="connsiteY89" fmla="*/ 4059853 h 6685267"/>
                <a:gd name="connsiteX90" fmla="*/ 28322 w 5822102"/>
                <a:gd name="connsiteY90" fmla="*/ 3749136 h 6685267"/>
                <a:gd name="connsiteX91" fmla="*/ 0 w 5822102"/>
                <a:gd name="connsiteY91" fmla="*/ 3428922 h 6685267"/>
                <a:gd name="connsiteX92" fmla="*/ 253052 w 5822102"/>
                <a:gd name="connsiteY92" fmla="*/ 2174356 h 6685267"/>
                <a:gd name="connsiteX93" fmla="*/ 389141 w 5822102"/>
                <a:gd name="connsiteY93" fmla="*/ 1877652 h 6685267"/>
                <a:gd name="connsiteX94" fmla="*/ 552079 w 5822102"/>
                <a:gd name="connsiteY94" fmla="*/ 1591834 h 6685267"/>
                <a:gd name="connsiteX95" fmla="*/ 954950 w 5822102"/>
                <a:gd name="connsiteY95" fmla="*/ 1061773 h 6685267"/>
                <a:gd name="connsiteX96" fmla="*/ 1192922 w 5822102"/>
                <a:gd name="connsiteY96" fmla="*/ 822626 h 6685267"/>
                <a:gd name="connsiteX97" fmla="*/ 1255939 w 5822102"/>
                <a:gd name="connsiteY97" fmla="*/ 765880 h 6685267"/>
                <a:gd name="connsiteX98" fmla="*/ 1320183 w 5822102"/>
                <a:gd name="connsiteY98" fmla="*/ 710291 h 6685267"/>
                <a:gd name="connsiteX99" fmla="*/ 1452961 w 5822102"/>
                <a:gd name="connsiteY99" fmla="*/ 603514 h 6685267"/>
                <a:gd name="connsiteX100" fmla="*/ 2033360 w 5822102"/>
                <a:gd name="connsiteY100" fmla="*/ 235818 h 6685267"/>
                <a:gd name="connsiteX101" fmla="*/ 2512513 w 5822102"/>
                <a:gd name="connsiteY101" fmla="*/ 30012 h 66852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5822102" h="6685267">
                  <a:moveTo>
                    <a:pt x="2605444" y="0"/>
                  </a:moveTo>
                  <a:lnTo>
                    <a:pt x="4757391" y="0"/>
                  </a:lnTo>
                  <a:lnTo>
                    <a:pt x="4913680" y="56274"/>
                  </a:lnTo>
                  <a:cubicBezTo>
                    <a:pt x="5074659" y="119278"/>
                    <a:pt x="5229483" y="195083"/>
                    <a:pt x="5376238" y="282027"/>
                  </a:cubicBezTo>
                  <a:cubicBezTo>
                    <a:pt x="5474014" y="340105"/>
                    <a:pt x="5568080" y="403280"/>
                    <a:pt x="5658024" y="471014"/>
                  </a:cubicBezTo>
                  <a:lnTo>
                    <a:pt x="5822102" y="609109"/>
                  </a:lnTo>
                  <a:lnTo>
                    <a:pt x="5822102" y="760697"/>
                  </a:lnTo>
                  <a:lnTo>
                    <a:pt x="5707785" y="666601"/>
                  </a:lnTo>
                  <a:cubicBezTo>
                    <a:pt x="5665273" y="633682"/>
                    <a:pt x="5621749" y="602008"/>
                    <a:pt x="5577306" y="571666"/>
                  </a:cubicBezTo>
                  <a:cubicBezTo>
                    <a:pt x="5487929" y="511562"/>
                    <a:pt x="5395118" y="456089"/>
                    <a:pt x="5298630" y="407449"/>
                  </a:cubicBezTo>
                  <a:cubicBezTo>
                    <a:pt x="5106266" y="309010"/>
                    <a:pt x="4901153" y="235355"/>
                    <a:pt x="4690768" y="184979"/>
                  </a:cubicBezTo>
                  <a:cubicBezTo>
                    <a:pt x="4480382" y="134486"/>
                    <a:pt x="4264724" y="106807"/>
                    <a:pt x="4048577" y="99280"/>
                  </a:cubicBezTo>
                  <a:cubicBezTo>
                    <a:pt x="3832182" y="90709"/>
                    <a:pt x="3617997" y="102290"/>
                    <a:pt x="3405404" y="131937"/>
                  </a:cubicBezTo>
                  <a:cubicBezTo>
                    <a:pt x="3299353" y="147340"/>
                    <a:pt x="3193915" y="166449"/>
                    <a:pt x="3089702" y="190190"/>
                  </a:cubicBezTo>
                  <a:cubicBezTo>
                    <a:pt x="2985491" y="214278"/>
                    <a:pt x="2882137" y="241725"/>
                    <a:pt x="2780132" y="273457"/>
                  </a:cubicBezTo>
                  <a:cubicBezTo>
                    <a:pt x="2678126" y="305073"/>
                    <a:pt x="2577348" y="340510"/>
                    <a:pt x="2478040" y="379654"/>
                  </a:cubicBezTo>
                  <a:cubicBezTo>
                    <a:pt x="2378854" y="418914"/>
                    <a:pt x="2281017" y="461763"/>
                    <a:pt x="2184897" y="507972"/>
                  </a:cubicBezTo>
                  <a:cubicBezTo>
                    <a:pt x="1992657" y="600271"/>
                    <a:pt x="1806791" y="705542"/>
                    <a:pt x="1629141" y="823205"/>
                  </a:cubicBezTo>
                  <a:cubicBezTo>
                    <a:pt x="1584882" y="852736"/>
                    <a:pt x="1540745" y="882731"/>
                    <a:pt x="1497711" y="914000"/>
                  </a:cubicBezTo>
                  <a:cubicBezTo>
                    <a:pt x="1475888" y="929286"/>
                    <a:pt x="1454555" y="945153"/>
                    <a:pt x="1433099" y="960903"/>
                  </a:cubicBezTo>
                  <a:cubicBezTo>
                    <a:pt x="1411521" y="976537"/>
                    <a:pt x="1390311" y="992634"/>
                    <a:pt x="1369346" y="1008963"/>
                  </a:cubicBezTo>
                  <a:cubicBezTo>
                    <a:pt x="1285119" y="1074165"/>
                    <a:pt x="1202730" y="1141797"/>
                    <a:pt x="1123406" y="1212905"/>
                  </a:cubicBezTo>
                  <a:cubicBezTo>
                    <a:pt x="964391" y="1354656"/>
                    <a:pt x="816900" y="1509261"/>
                    <a:pt x="684367" y="1675564"/>
                  </a:cubicBezTo>
                  <a:cubicBezTo>
                    <a:pt x="618161" y="1758716"/>
                    <a:pt x="555512" y="1844763"/>
                    <a:pt x="497153" y="1933588"/>
                  </a:cubicBezTo>
                  <a:cubicBezTo>
                    <a:pt x="439775" y="2022877"/>
                    <a:pt x="385584" y="2114367"/>
                    <a:pt x="337770" y="2208983"/>
                  </a:cubicBezTo>
                  <a:cubicBezTo>
                    <a:pt x="325388" y="2232493"/>
                    <a:pt x="313862" y="2256349"/>
                    <a:pt x="302461" y="2280207"/>
                  </a:cubicBezTo>
                  <a:lnTo>
                    <a:pt x="285296" y="2316107"/>
                  </a:lnTo>
                  <a:lnTo>
                    <a:pt x="268991" y="2352355"/>
                  </a:lnTo>
                  <a:cubicBezTo>
                    <a:pt x="258324" y="2376560"/>
                    <a:pt x="247535" y="2400764"/>
                    <a:pt x="237849" y="2425432"/>
                  </a:cubicBezTo>
                  <a:cubicBezTo>
                    <a:pt x="228163" y="2450099"/>
                    <a:pt x="217498" y="2474419"/>
                    <a:pt x="208670" y="2499319"/>
                  </a:cubicBezTo>
                  <a:cubicBezTo>
                    <a:pt x="170909" y="2598219"/>
                    <a:pt x="138908" y="2699206"/>
                    <a:pt x="113775" y="2801929"/>
                  </a:cubicBezTo>
                  <a:cubicBezTo>
                    <a:pt x="62773" y="3006911"/>
                    <a:pt x="36659" y="3217917"/>
                    <a:pt x="36781" y="3428922"/>
                  </a:cubicBezTo>
                  <a:cubicBezTo>
                    <a:pt x="37394" y="3534078"/>
                    <a:pt x="47816" y="3639001"/>
                    <a:pt x="69148" y="3741955"/>
                  </a:cubicBezTo>
                  <a:cubicBezTo>
                    <a:pt x="91585" y="3844679"/>
                    <a:pt x="124074" y="3945202"/>
                    <a:pt x="167966" y="4041323"/>
                  </a:cubicBezTo>
                  <a:cubicBezTo>
                    <a:pt x="178387" y="4065528"/>
                    <a:pt x="190525" y="4089153"/>
                    <a:pt x="202049" y="4112894"/>
                  </a:cubicBezTo>
                  <a:cubicBezTo>
                    <a:pt x="214555" y="4136288"/>
                    <a:pt x="226447" y="4159912"/>
                    <a:pt x="239933" y="4182843"/>
                  </a:cubicBezTo>
                  <a:cubicBezTo>
                    <a:pt x="265680" y="4229167"/>
                    <a:pt x="294368" y="4274101"/>
                    <a:pt x="323916" y="4318456"/>
                  </a:cubicBezTo>
                  <a:cubicBezTo>
                    <a:pt x="353341" y="4362927"/>
                    <a:pt x="384849" y="4406240"/>
                    <a:pt x="416604" y="4449436"/>
                  </a:cubicBezTo>
                  <a:cubicBezTo>
                    <a:pt x="448847" y="4492286"/>
                    <a:pt x="482319" y="4534557"/>
                    <a:pt x="515911" y="4576711"/>
                  </a:cubicBezTo>
                  <a:cubicBezTo>
                    <a:pt x="583219" y="4661137"/>
                    <a:pt x="653594" y="4743825"/>
                    <a:pt x="722619" y="4828482"/>
                  </a:cubicBezTo>
                  <a:cubicBezTo>
                    <a:pt x="757315" y="4870637"/>
                    <a:pt x="791889" y="4913138"/>
                    <a:pt x="825972" y="4956104"/>
                  </a:cubicBezTo>
                  <a:cubicBezTo>
                    <a:pt x="859934" y="4998722"/>
                    <a:pt x="893649" y="5044004"/>
                    <a:pt x="926506" y="5085347"/>
                  </a:cubicBezTo>
                  <a:cubicBezTo>
                    <a:pt x="959119" y="5127734"/>
                    <a:pt x="993324" y="5168847"/>
                    <a:pt x="1027040" y="5210191"/>
                  </a:cubicBezTo>
                  <a:cubicBezTo>
                    <a:pt x="1061737" y="5250840"/>
                    <a:pt x="1096188" y="5291488"/>
                    <a:pt x="1132110" y="5330748"/>
                  </a:cubicBezTo>
                  <a:cubicBezTo>
                    <a:pt x="1203465" y="5409731"/>
                    <a:pt x="1277639" y="5485818"/>
                    <a:pt x="1354880" y="5558083"/>
                  </a:cubicBezTo>
                  <a:cubicBezTo>
                    <a:pt x="1509603" y="5702266"/>
                    <a:pt x="1676588" y="5830930"/>
                    <a:pt x="1855220" y="5937591"/>
                  </a:cubicBezTo>
                  <a:cubicBezTo>
                    <a:pt x="1944720" y="5990632"/>
                    <a:pt x="2036549" y="6039272"/>
                    <a:pt x="2131810" y="6080268"/>
                  </a:cubicBezTo>
                  <a:cubicBezTo>
                    <a:pt x="2226460" y="6122423"/>
                    <a:pt x="2324173" y="6157977"/>
                    <a:pt x="2423726" y="6188087"/>
                  </a:cubicBezTo>
                  <a:cubicBezTo>
                    <a:pt x="2523280" y="6218313"/>
                    <a:pt x="2624794" y="6242749"/>
                    <a:pt x="2727780" y="6262552"/>
                  </a:cubicBezTo>
                  <a:cubicBezTo>
                    <a:pt x="2830890" y="6282008"/>
                    <a:pt x="2935714" y="6295326"/>
                    <a:pt x="3041276" y="6304245"/>
                  </a:cubicBezTo>
                  <a:cubicBezTo>
                    <a:pt x="3146836" y="6313277"/>
                    <a:pt x="3253499" y="6317215"/>
                    <a:pt x="3360532" y="6317331"/>
                  </a:cubicBezTo>
                  <a:cubicBezTo>
                    <a:pt x="3387259" y="6317331"/>
                    <a:pt x="3414354" y="6317794"/>
                    <a:pt x="3439855" y="6316751"/>
                  </a:cubicBezTo>
                  <a:lnTo>
                    <a:pt x="3478721" y="6315826"/>
                  </a:lnTo>
                  <a:lnTo>
                    <a:pt x="3517463" y="6313971"/>
                  </a:lnTo>
                  <a:cubicBezTo>
                    <a:pt x="3569078" y="6311772"/>
                    <a:pt x="3620449" y="6306907"/>
                    <a:pt x="3671452" y="6301233"/>
                  </a:cubicBezTo>
                  <a:cubicBezTo>
                    <a:pt x="3875707" y="6277608"/>
                    <a:pt x="4074445" y="6225841"/>
                    <a:pt x="4265460" y="6149638"/>
                  </a:cubicBezTo>
                  <a:cubicBezTo>
                    <a:pt x="4361212" y="6111884"/>
                    <a:pt x="4454636" y="6067065"/>
                    <a:pt x="4546587" y="6018079"/>
                  </a:cubicBezTo>
                  <a:cubicBezTo>
                    <a:pt x="4638662" y="5969322"/>
                    <a:pt x="4729020" y="5915240"/>
                    <a:pt x="4818030" y="5858029"/>
                  </a:cubicBezTo>
                  <a:cubicBezTo>
                    <a:pt x="4907038" y="5800703"/>
                    <a:pt x="4994577" y="5739672"/>
                    <a:pt x="5081870" y="5676903"/>
                  </a:cubicBezTo>
                  <a:cubicBezTo>
                    <a:pt x="5125392" y="5645519"/>
                    <a:pt x="5168794" y="5613324"/>
                    <a:pt x="5212073" y="5581013"/>
                  </a:cubicBezTo>
                  <a:lnTo>
                    <a:pt x="5343625" y="5481533"/>
                  </a:lnTo>
                  <a:cubicBezTo>
                    <a:pt x="5432696" y="5414768"/>
                    <a:pt x="5521951" y="5349452"/>
                    <a:pt x="5610378" y="5284425"/>
                  </a:cubicBezTo>
                  <a:lnTo>
                    <a:pt x="5822102" y="5126414"/>
                  </a:lnTo>
                  <a:lnTo>
                    <a:pt x="5822102" y="5556641"/>
                  </a:lnTo>
                  <a:lnTo>
                    <a:pt x="5576325" y="5749979"/>
                  </a:lnTo>
                  <a:lnTo>
                    <a:pt x="5447715" y="5852818"/>
                  </a:lnTo>
                  <a:cubicBezTo>
                    <a:pt x="5403945" y="5887445"/>
                    <a:pt x="5359932" y="5922073"/>
                    <a:pt x="5315059" y="5956236"/>
                  </a:cubicBezTo>
                  <a:cubicBezTo>
                    <a:pt x="5225682" y="6024680"/>
                    <a:pt x="5133976" y="6091734"/>
                    <a:pt x="5038468" y="6155776"/>
                  </a:cubicBezTo>
                  <a:cubicBezTo>
                    <a:pt x="4943084" y="6219703"/>
                    <a:pt x="4845002" y="6281777"/>
                    <a:pt x="4741892" y="6338292"/>
                  </a:cubicBezTo>
                  <a:cubicBezTo>
                    <a:pt x="4638784" y="6394692"/>
                    <a:pt x="4532120" y="6447038"/>
                    <a:pt x="4420920" y="6492203"/>
                  </a:cubicBezTo>
                  <a:cubicBezTo>
                    <a:pt x="4199255" y="6583693"/>
                    <a:pt x="3959813" y="6644840"/>
                    <a:pt x="3717672" y="6670434"/>
                  </a:cubicBezTo>
                  <a:cubicBezTo>
                    <a:pt x="3657106" y="6676456"/>
                    <a:pt x="3596419" y="6681321"/>
                    <a:pt x="3535853" y="6683289"/>
                  </a:cubicBezTo>
                  <a:lnTo>
                    <a:pt x="3490367" y="6684910"/>
                  </a:lnTo>
                  <a:lnTo>
                    <a:pt x="3445005" y="6685142"/>
                  </a:lnTo>
                  <a:cubicBezTo>
                    <a:pt x="3414354" y="6685605"/>
                    <a:pt x="3385297" y="6684679"/>
                    <a:pt x="3355872" y="6684100"/>
                  </a:cubicBezTo>
                  <a:cubicBezTo>
                    <a:pt x="3297146" y="6683405"/>
                    <a:pt x="3238052" y="6680047"/>
                    <a:pt x="3179203" y="6677150"/>
                  </a:cubicBezTo>
                  <a:cubicBezTo>
                    <a:pt x="3120232" y="6672519"/>
                    <a:pt x="3061259" y="6668233"/>
                    <a:pt x="3002410" y="6661169"/>
                  </a:cubicBezTo>
                  <a:cubicBezTo>
                    <a:pt x="2884589" y="6647851"/>
                    <a:pt x="2766891" y="6629669"/>
                    <a:pt x="2650296" y="6604191"/>
                  </a:cubicBezTo>
                  <a:cubicBezTo>
                    <a:pt x="2533702" y="6578713"/>
                    <a:pt x="2418456" y="6545938"/>
                    <a:pt x="2306028" y="6505869"/>
                  </a:cubicBezTo>
                  <a:cubicBezTo>
                    <a:pt x="2193602" y="6465683"/>
                    <a:pt x="2084118" y="6417738"/>
                    <a:pt x="1978803" y="6363307"/>
                  </a:cubicBezTo>
                  <a:cubicBezTo>
                    <a:pt x="1873855" y="6308066"/>
                    <a:pt x="1773077" y="6246340"/>
                    <a:pt x="1678428" y="6177779"/>
                  </a:cubicBezTo>
                  <a:cubicBezTo>
                    <a:pt x="1488393" y="6041356"/>
                    <a:pt x="1321900" y="5881423"/>
                    <a:pt x="1175880" y="5710373"/>
                  </a:cubicBezTo>
                  <a:cubicBezTo>
                    <a:pt x="1103177" y="5624441"/>
                    <a:pt x="1035501" y="5535732"/>
                    <a:pt x="971502" y="5445399"/>
                  </a:cubicBezTo>
                  <a:cubicBezTo>
                    <a:pt x="907380" y="5355069"/>
                    <a:pt x="847550" y="5262768"/>
                    <a:pt x="790909" y="5169078"/>
                  </a:cubicBezTo>
                  <a:cubicBezTo>
                    <a:pt x="761974" y="5121712"/>
                    <a:pt x="735492" y="5077357"/>
                    <a:pt x="706680" y="5031959"/>
                  </a:cubicBezTo>
                  <a:cubicBezTo>
                    <a:pt x="678114" y="4986910"/>
                    <a:pt x="649058" y="4941860"/>
                    <a:pt x="619143" y="4897157"/>
                  </a:cubicBezTo>
                  <a:lnTo>
                    <a:pt x="436465" y="4628710"/>
                  </a:lnTo>
                  <a:cubicBezTo>
                    <a:pt x="406182" y="4583544"/>
                    <a:pt x="376267" y="4538147"/>
                    <a:pt x="347088" y="4492171"/>
                  </a:cubicBezTo>
                  <a:cubicBezTo>
                    <a:pt x="317908" y="4446194"/>
                    <a:pt x="288974" y="4400102"/>
                    <a:pt x="262001" y="4352619"/>
                  </a:cubicBezTo>
                  <a:cubicBezTo>
                    <a:pt x="207934" y="4258119"/>
                    <a:pt x="158280" y="4160840"/>
                    <a:pt x="118679" y="4059853"/>
                  </a:cubicBezTo>
                  <a:cubicBezTo>
                    <a:pt x="78343" y="3959214"/>
                    <a:pt x="48429" y="3854870"/>
                    <a:pt x="28322" y="3749136"/>
                  </a:cubicBezTo>
                  <a:cubicBezTo>
                    <a:pt x="9073" y="3643402"/>
                    <a:pt x="0" y="3536046"/>
                    <a:pt x="0" y="3428922"/>
                  </a:cubicBezTo>
                  <a:cubicBezTo>
                    <a:pt x="1594" y="3001816"/>
                    <a:pt x="89010" y="2575868"/>
                    <a:pt x="253052" y="2174356"/>
                  </a:cubicBezTo>
                  <a:cubicBezTo>
                    <a:pt x="294246" y="2074066"/>
                    <a:pt x="338873" y="1974700"/>
                    <a:pt x="389141" y="1877652"/>
                  </a:cubicBezTo>
                  <a:cubicBezTo>
                    <a:pt x="438672" y="1780256"/>
                    <a:pt x="493230" y="1684945"/>
                    <a:pt x="552079" y="1591834"/>
                  </a:cubicBezTo>
                  <a:cubicBezTo>
                    <a:pt x="669900" y="1405728"/>
                    <a:pt x="804394" y="1227729"/>
                    <a:pt x="954950" y="1061773"/>
                  </a:cubicBezTo>
                  <a:cubicBezTo>
                    <a:pt x="1030597" y="979085"/>
                    <a:pt x="1109552" y="898829"/>
                    <a:pt x="1192922" y="822626"/>
                  </a:cubicBezTo>
                  <a:cubicBezTo>
                    <a:pt x="1213642" y="803402"/>
                    <a:pt x="1234483" y="784409"/>
                    <a:pt x="1255939" y="765880"/>
                  </a:cubicBezTo>
                  <a:cubicBezTo>
                    <a:pt x="1277273" y="747234"/>
                    <a:pt x="1298237" y="728241"/>
                    <a:pt x="1320183" y="710291"/>
                  </a:cubicBezTo>
                  <a:cubicBezTo>
                    <a:pt x="1363585" y="673811"/>
                    <a:pt x="1408088" y="638489"/>
                    <a:pt x="1452961" y="603514"/>
                  </a:cubicBezTo>
                  <a:cubicBezTo>
                    <a:pt x="1633310" y="464543"/>
                    <a:pt x="1828125" y="341437"/>
                    <a:pt x="2033360" y="235818"/>
                  </a:cubicBezTo>
                  <a:cubicBezTo>
                    <a:pt x="2187242" y="156561"/>
                    <a:pt x="2347554" y="87597"/>
                    <a:pt x="2512513" y="30012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5102EBE-A80F-4CFF-B1DD-941EF9728B5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404998" y="98659"/>
              <a:ext cx="5774333" cy="6315453"/>
            </a:xfrm>
            <a:custGeom>
              <a:avLst/>
              <a:gdLst>
                <a:gd name="connsiteX0" fmla="*/ 3707237 w 5774333"/>
                <a:gd name="connsiteY0" fmla="*/ 1489 h 6315453"/>
                <a:gd name="connsiteX1" fmla="*/ 4037665 w 5774333"/>
                <a:gd name="connsiteY1" fmla="*/ 6121 h 6315453"/>
                <a:gd name="connsiteX2" fmla="*/ 4692239 w 5774333"/>
                <a:gd name="connsiteY2" fmla="*/ 102128 h 6315453"/>
                <a:gd name="connsiteX3" fmla="*/ 5315059 w 5774333"/>
                <a:gd name="connsiteY3" fmla="*/ 324945 h 6315453"/>
                <a:gd name="connsiteX4" fmla="*/ 5738325 w 5774333"/>
                <a:gd name="connsiteY4" fmla="*/ 578286 h 6315453"/>
                <a:gd name="connsiteX5" fmla="*/ 5774333 w 5774333"/>
                <a:gd name="connsiteY5" fmla="*/ 606551 h 6315453"/>
                <a:gd name="connsiteX6" fmla="*/ 5774333 w 5774333"/>
                <a:gd name="connsiteY6" fmla="*/ 975490 h 6315453"/>
                <a:gd name="connsiteX7" fmla="*/ 5676001 w 5774333"/>
                <a:gd name="connsiteY7" fmla="*/ 889749 h 6315453"/>
                <a:gd name="connsiteX8" fmla="*/ 5177132 w 5774333"/>
                <a:gd name="connsiteY8" fmla="*/ 581926 h 6315453"/>
                <a:gd name="connsiteX9" fmla="*/ 4615735 w 5774333"/>
                <a:gd name="connsiteY9" fmla="*/ 388640 h 6315453"/>
                <a:gd name="connsiteX10" fmla="*/ 4020010 w 5774333"/>
                <a:gd name="connsiteY10" fmla="*/ 308500 h 6315453"/>
                <a:gd name="connsiteX11" fmla="*/ 3416315 w 5774333"/>
                <a:gd name="connsiteY11" fmla="*/ 328882 h 6315453"/>
                <a:gd name="connsiteX12" fmla="*/ 2823779 w 5774333"/>
                <a:gd name="connsiteY12" fmla="*/ 446545 h 6315453"/>
                <a:gd name="connsiteX13" fmla="*/ 2256987 w 5774333"/>
                <a:gd name="connsiteY13" fmla="*/ 651296 h 6315453"/>
                <a:gd name="connsiteX14" fmla="*/ 1244169 w 5774333"/>
                <a:gd name="connsiteY14" fmla="*/ 1280374 h 6315453"/>
                <a:gd name="connsiteX15" fmla="*/ 830141 w 5774333"/>
                <a:gd name="connsiteY15" fmla="*/ 1700184 h 6315453"/>
                <a:gd name="connsiteX16" fmla="*/ 502792 w 5774333"/>
                <a:gd name="connsiteY16" fmla="*/ 2182300 h 6315453"/>
                <a:gd name="connsiteX17" fmla="*/ 280637 w 5774333"/>
                <a:gd name="connsiteY17" fmla="*/ 2715256 h 6315453"/>
                <a:gd name="connsiteX18" fmla="*/ 199843 w 5774333"/>
                <a:gd name="connsiteY18" fmla="*/ 3283418 h 6315453"/>
                <a:gd name="connsiteX19" fmla="*/ 233926 w 5774333"/>
                <a:gd name="connsiteY19" fmla="*/ 3561593 h 6315453"/>
                <a:gd name="connsiteX20" fmla="*/ 334582 w 5774333"/>
                <a:gd name="connsiteY20" fmla="*/ 3821816 h 6315453"/>
                <a:gd name="connsiteX21" fmla="*/ 404834 w 5774333"/>
                <a:gd name="connsiteY21" fmla="*/ 3944343 h 6315453"/>
                <a:gd name="connsiteX22" fmla="*/ 485506 w 5774333"/>
                <a:gd name="connsiteY22" fmla="*/ 4062932 h 6315453"/>
                <a:gd name="connsiteX23" fmla="*/ 671861 w 5774333"/>
                <a:gd name="connsiteY23" fmla="*/ 4292120 h 6315453"/>
                <a:gd name="connsiteX24" fmla="*/ 873542 w 5774333"/>
                <a:gd name="connsiteY24" fmla="*/ 4523044 h 6315453"/>
                <a:gd name="connsiteX25" fmla="*/ 973831 w 5774333"/>
                <a:gd name="connsiteY25" fmla="*/ 4643601 h 6315453"/>
                <a:gd name="connsiteX26" fmla="*/ 1022014 w 5774333"/>
                <a:gd name="connsiteY26" fmla="*/ 4702780 h 6315453"/>
                <a:gd name="connsiteX27" fmla="*/ 1069215 w 5774333"/>
                <a:gd name="connsiteY27" fmla="*/ 4759411 h 6315453"/>
                <a:gd name="connsiteX28" fmla="*/ 1474784 w 5774333"/>
                <a:gd name="connsiteY28" fmla="*/ 5177948 h 6315453"/>
                <a:gd name="connsiteX29" fmla="*/ 1690442 w 5774333"/>
                <a:gd name="connsiteY29" fmla="*/ 5366255 h 6315453"/>
                <a:gd name="connsiteX30" fmla="*/ 1916276 w 5774333"/>
                <a:gd name="connsiteY30" fmla="*/ 5539852 h 6315453"/>
                <a:gd name="connsiteX31" fmla="*/ 2420784 w 5774333"/>
                <a:gd name="connsiteY31" fmla="*/ 5814437 h 6315453"/>
                <a:gd name="connsiteX32" fmla="*/ 2703015 w 5774333"/>
                <a:gd name="connsiteY32" fmla="*/ 5892029 h 6315453"/>
                <a:gd name="connsiteX33" fmla="*/ 2775350 w 5774333"/>
                <a:gd name="connsiteY33" fmla="*/ 5905695 h 6315453"/>
                <a:gd name="connsiteX34" fmla="*/ 2848299 w 5774333"/>
                <a:gd name="connsiteY34" fmla="*/ 5917161 h 6315453"/>
                <a:gd name="connsiteX35" fmla="*/ 2995544 w 5774333"/>
                <a:gd name="connsiteY35" fmla="*/ 5933605 h 6315453"/>
                <a:gd name="connsiteX36" fmla="*/ 3069596 w 5774333"/>
                <a:gd name="connsiteY36" fmla="*/ 5938933 h 6315453"/>
                <a:gd name="connsiteX37" fmla="*/ 3143894 w 5774333"/>
                <a:gd name="connsiteY37" fmla="*/ 5942639 h 6315453"/>
                <a:gd name="connsiteX38" fmla="*/ 3218436 w 5774333"/>
                <a:gd name="connsiteY38" fmla="*/ 5944260 h 6315453"/>
                <a:gd name="connsiteX39" fmla="*/ 3293101 w 5774333"/>
                <a:gd name="connsiteY39" fmla="*/ 5943913 h 6315453"/>
                <a:gd name="connsiteX40" fmla="*/ 3330494 w 5774333"/>
                <a:gd name="connsiteY40" fmla="*/ 5943565 h 6315453"/>
                <a:gd name="connsiteX41" fmla="*/ 3366540 w 5774333"/>
                <a:gd name="connsiteY41" fmla="*/ 5942059 h 6315453"/>
                <a:gd name="connsiteX42" fmla="*/ 3402462 w 5774333"/>
                <a:gd name="connsiteY42" fmla="*/ 5940323 h 6315453"/>
                <a:gd name="connsiteX43" fmla="*/ 3438262 w 5774333"/>
                <a:gd name="connsiteY43" fmla="*/ 5937543 h 6315453"/>
                <a:gd name="connsiteX44" fmla="*/ 3580236 w 5774333"/>
                <a:gd name="connsiteY44" fmla="*/ 5920982 h 6315453"/>
                <a:gd name="connsiteX45" fmla="*/ 4121034 w 5774333"/>
                <a:gd name="connsiteY45" fmla="*/ 5753290 h 6315453"/>
                <a:gd name="connsiteX46" fmla="*/ 4620639 w 5774333"/>
                <a:gd name="connsiteY46" fmla="*/ 5459364 h 6315453"/>
                <a:gd name="connsiteX47" fmla="*/ 4741771 w 5774333"/>
                <a:gd name="connsiteY47" fmla="*/ 5372971 h 6315453"/>
                <a:gd name="connsiteX48" fmla="*/ 4862901 w 5774333"/>
                <a:gd name="connsiteY48" fmla="*/ 5283682 h 6315453"/>
                <a:gd name="connsiteX49" fmla="*/ 5108229 w 5774333"/>
                <a:gd name="connsiteY49" fmla="*/ 5098386 h 6315453"/>
                <a:gd name="connsiteX50" fmla="*/ 5612493 w 5774333"/>
                <a:gd name="connsiteY50" fmla="*/ 4739724 h 6315453"/>
                <a:gd name="connsiteX51" fmla="*/ 5774333 w 5774333"/>
                <a:gd name="connsiteY51" fmla="*/ 4623488 h 6315453"/>
                <a:gd name="connsiteX52" fmla="*/ 5774333 w 5774333"/>
                <a:gd name="connsiteY52" fmla="*/ 5232926 h 6315453"/>
                <a:gd name="connsiteX53" fmla="*/ 5676492 w 5774333"/>
                <a:gd name="connsiteY53" fmla="*/ 5306859 h 6315453"/>
                <a:gd name="connsiteX54" fmla="*/ 5426260 w 5774333"/>
                <a:gd name="connsiteY54" fmla="*/ 5486233 h 6315453"/>
                <a:gd name="connsiteX55" fmla="*/ 5300225 w 5774333"/>
                <a:gd name="connsiteY55" fmla="*/ 5576217 h 6315453"/>
                <a:gd name="connsiteX56" fmla="*/ 5170757 w 5774333"/>
                <a:gd name="connsiteY56" fmla="*/ 5666780 h 6315453"/>
                <a:gd name="connsiteX57" fmla="*/ 5038100 w 5774333"/>
                <a:gd name="connsiteY57" fmla="*/ 5756185 h 6315453"/>
                <a:gd name="connsiteX58" fmla="*/ 4901276 w 5774333"/>
                <a:gd name="connsiteY58" fmla="*/ 5843043 h 6315453"/>
                <a:gd name="connsiteX59" fmla="*/ 4614019 w 5774333"/>
                <a:gd name="connsiteY59" fmla="*/ 6006103 h 6315453"/>
                <a:gd name="connsiteX60" fmla="*/ 4305061 w 5774333"/>
                <a:gd name="connsiteY60" fmla="*/ 6144726 h 6315453"/>
                <a:gd name="connsiteX61" fmla="*/ 3632710 w 5774333"/>
                <a:gd name="connsiteY61" fmla="*/ 6304196 h 6315453"/>
                <a:gd name="connsiteX62" fmla="*/ 3459594 w 5774333"/>
                <a:gd name="connsiteY62" fmla="*/ 6314504 h 6315453"/>
                <a:gd name="connsiteX63" fmla="*/ 3416315 w 5774333"/>
                <a:gd name="connsiteY63" fmla="*/ 6315429 h 6315453"/>
                <a:gd name="connsiteX64" fmla="*/ 3373159 w 5774333"/>
                <a:gd name="connsiteY64" fmla="*/ 6315198 h 6315453"/>
                <a:gd name="connsiteX65" fmla="*/ 3330127 w 5774333"/>
                <a:gd name="connsiteY65" fmla="*/ 6314735 h 6315453"/>
                <a:gd name="connsiteX66" fmla="*/ 3288320 w 5774333"/>
                <a:gd name="connsiteY66" fmla="*/ 6313230 h 6315453"/>
                <a:gd name="connsiteX67" fmla="*/ 2954350 w 5774333"/>
                <a:gd name="connsiteY67" fmla="*/ 6288098 h 6315453"/>
                <a:gd name="connsiteX68" fmla="*/ 2622466 w 5774333"/>
                <a:gd name="connsiteY68" fmla="*/ 6232742 h 6315453"/>
                <a:gd name="connsiteX69" fmla="*/ 2296466 w 5774333"/>
                <a:gd name="connsiteY69" fmla="*/ 6146001 h 6315453"/>
                <a:gd name="connsiteX70" fmla="*/ 1672419 w 5774333"/>
                <a:gd name="connsiteY70" fmla="*/ 5885197 h 6315453"/>
                <a:gd name="connsiteX71" fmla="*/ 1146578 w 5774333"/>
                <a:gd name="connsiteY71" fmla="*/ 5479168 h 6315453"/>
                <a:gd name="connsiteX72" fmla="*/ 933372 w 5774333"/>
                <a:gd name="connsiteY72" fmla="*/ 5234810 h 6315453"/>
                <a:gd name="connsiteX73" fmla="*/ 747140 w 5774333"/>
                <a:gd name="connsiteY73" fmla="*/ 4976091 h 6315453"/>
                <a:gd name="connsiteX74" fmla="*/ 703616 w 5774333"/>
                <a:gd name="connsiteY74" fmla="*/ 4910196 h 6315453"/>
                <a:gd name="connsiteX75" fmla="*/ 662053 w 5774333"/>
                <a:gd name="connsiteY75" fmla="*/ 4846269 h 6315453"/>
                <a:gd name="connsiteX76" fmla="*/ 580033 w 5774333"/>
                <a:gd name="connsiteY76" fmla="*/ 4722352 h 6315453"/>
                <a:gd name="connsiteX77" fmla="*/ 410105 w 5774333"/>
                <a:gd name="connsiteY77" fmla="*/ 4469193 h 6315453"/>
                <a:gd name="connsiteX78" fmla="*/ 244224 w 5774333"/>
                <a:gd name="connsiteY78" fmla="*/ 4201556 h 6315453"/>
                <a:gd name="connsiteX79" fmla="*/ 169437 w 5774333"/>
                <a:gd name="connsiteY79" fmla="*/ 4059690 h 6315453"/>
                <a:gd name="connsiteX80" fmla="*/ 105929 w 5774333"/>
                <a:gd name="connsiteY80" fmla="*/ 3911221 h 6315453"/>
                <a:gd name="connsiteX81" fmla="*/ 57256 w 5774333"/>
                <a:gd name="connsiteY81" fmla="*/ 3757195 h 6315453"/>
                <a:gd name="connsiteX82" fmla="*/ 39111 w 5774333"/>
                <a:gd name="connsiteY82" fmla="*/ 3678677 h 6315453"/>
                <a:gd name="connsiteX83" fmla="*/ 31142 w 5774333"/>
                <a:gd name="connsiteY83" fmla="*/ 3639300 h 6315453"/>
                <a:gd name="connsiteX84" fmla="*/ 24521 w 5774333"/>
                <a:gd name="connsiteY84" fmla="*/ 3599809 h 6315453"/>
                <a:gd name="connsiteX85" fmla="*/ 0 w 5774333"/>
                <a:gd name="connsiteY85" fmla="*/ 3283418 h 6315453"/>
                <a:gd name="connsiteX86" fmla="*/ 68045 w 5774333"/>
                <a:gd name="connsiteY86" fmla="*/ 2666963 h 6315453"/>
                <a:gd name="connsiteX87" fmla="*/ 272546 w 5774333"/>
                <a:gd name="connsiteY87" fmla="*/ 2076334 h 6315453"/>
                <a:gd name="connsiteX88" fmla="*/ 1039300 w 5774333"/>
                <a:gd name="connsiteY88" fmla="*/ 1073307 h 6315453"/>
                <a:gd name="connsiteX89" fmla="*/ 1547733 w 5774333"/>
                <a:gd name="connsiteY89" fmla="*/ 680365 h 6315453"/>
                <a:gd name="connsiteX90" fmla="*/ 2115995 w 5774333"/>
                <a:gd name="connsiteY90" fmla="*/ 368373 h 6315453"/>
                <a:gd name="connsiteX91" fmla="*/ 3377451 w 5774333"/>
                <a:gd name="connsiteY91" fmla="*/ 24304 h 6315453"/>
                <a:gd name="connsiteX92" fmla="*/ 3707237 w 5774333"/>
                <a:gd name="connsiteY92" fmla="*/ 1489 h 63154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5774333" h="6315453">
                  <a:moveTo>
                    <a:pt x="3707237" y="1489"/>
                  </a:moveTo>
                  <a:cubicBezTo>
                    <a:pt x="3817502" y="-1522"/>
                    <a:pt x="3927875" y="41"/>
                    <a:pt x="4037665" y="6121"/>
                  </a:cubicBezTo>
                  <a:cubicBezTo>
                    <a:pt x="4257614" y="18745"/>
                    <a:pt x="4477439" y="49665"/>
                    <a:pt x="4692239" y="102128"/>
                  </a:cubicBezTo>
                  <a:cubicBezTo>
                    <a:pt x="4907039" y="154474"/>
                    <a:pt x="5116811" y="228592"/>
                    <a:pt x="5315059" y="324945"/>
                  </a:cubicBezTo>
                  <a:cubicBezTo>
                    <a:pt x="5463562" y="397211"/>
                    <a:pt x="5606133" y="481527"/>
                    <a:pt x="5738325" y="578286"/>
                  </a:cubicBezTo>
                  <a:lnTo>
                    <a:pt x="5774333" y="606551"/>
                  </a:lnTo>
                  <a:lnTo>
                    <a:pt x="5774333" y="975490"/>
                  </a:lnTo>
                  <a:lnTo>
                    <a:pt x="5676001" y="889749"/>
                  </a:lnTo>
                  <a:cubicBezTo>
                    <a:pt x="5522381" y="769886"/>
                    <a:pt x="5355519" y="665657"/>
                    <a:pt x="5177132" y="581926"/>
                  </a:cubicBezTo>
                  <a:cubicBezTo>
                    <a:pt x="4998867" y="497965"/>
                    <a:pt x="4810183" y="433574"/>
                    <a:pt x="4615735" y="388640"/>
                  </a:cubicBezTo>
                  <a:cubicBezTo>
                    <a:pt x="4421289" y="343591"/>
                    <a:pt x="4221446" y="317649"/>
                    <a:pt x="4020010" y="308500"/>
                  </a:cubicBezTo>
                  <a:cubicBezTo>
                    <a:pt x="3818207" y="298887"/>
                    <a:pt x="3616649" y="305257"/>
                    <a:pt x="3416315" y="328882"/>
                  </a:cubicBezTo>
                  <a:cubicBezTo>
                    <a:pt x="3216106" y="352623"/>
                    <a:pt x="3017736" y="392346"/>
                    <a:pt x="2823779" y="446545"/>
                  </a:cubicBezTo>
                  <a:cubicBezTo>
                    <a:pt x="2629699" y="500513"/>
                    <a:pt x="2440401" y="570345"/>
                    <a:pt x="2256987" y="651296"/>
                  </a:cubicBezTo>
                  <a:cubicBezTo>
                    <a:pt x="1889058" y="811461"/>
                    <a:pt x="1545527" y="1023856"/>
                    <a:pt x="1244169" y="1280374"/>
                  </a:cubicBezTo>
                  <a:cubicBezTo>
                    <a:pt x="1093982" y="1409039"/>
                    <a:pt x="954828" y="1549400"/>
                    <a:pt x="830141" y="1700184"/>
                  </a:cubicBezTo>
                  <a:cubicBezTo>
                    <a:pt x="705209" y="1850736"/>
                    <a:pt x="594989" y="2012176"/>
                    <a:pt x="502792" y="2182300"/>
                  </a:cubicBezTo>
                  <a:cubicBezTo>
                    <a:pt x="410595" y="2352308"/>
                    <a:pt x="333847" y="2530307"/>
                    <a:pt x="280637" y="2715256"/>
                  </a:cubicBezTo>
                  <a:cubicBezTo>
                    <a:pt x="227306" y="2899741"/>
                    <a:pt x="199719" y="3091521"/>
                    <a:pt x="199843" y="3283418"/>
                  </a:cubicBezTo>
                  <a:cubicBezTo>
                    <a:pt x="200946" y="3377687"/>
                    <a:pt x="210754" y="3471261"/>
                    <a:pt x="233926" y="3561593"/>
                  </a:cubicBezTo>
                  <a:cubicBezTo>
                    <a:pt x="256730" y="3652040"/>
                    <a:pt x="292162" y="3738550"/>
                    <a:pt x="334582" y="3821816"/>
                  </a:cubicBezTo>
                  <a:cubicBezTo>
                    <a:pt x="356038" y="3863392"/>
                    <a:pt x="379823" y="3904157"/>
                    <a:pt x="404834" y="3944343"/>
                  </a:cubicBezTo>
                  <a:cubicBezTo>
                    <a:pt x="430212" y="3984413"/>
                    <a:pt x="457308" y="4023905"/>
                    <a:pt x="485506" y="4062932"/>
                  </a:cubicBezTo>
                  <a:cubicBezTo>
                    <a:pt x="542639" y="4140757"/>
                    <a:pt x="606146" y="4216265"/>
                    <a:pt x="671861" y="4292120"/>
                  </a:cubicBezTo>
                  <a:cubicBezTo>
                    <a:pt x="737576" y="4368091"/>
                    <a:pt x="806234" y="4444062"/>
                    <a:pt x="873542" y="4523044"/>
                  </a:cubicBezTo>
                  <a:cubicBezTo>
                    <a:pt x="907258" y="4562419"/>
                    <a:pt x="940606" y="4602721"/>
                    <a:pt x="973831" y="4643601"/>
                  </a:cubicBezTo>
                  <a:lnTo>
                    <a:pt x="1022014" y="4702780"/>
                  </a:lnTo>
                  <a:cubicBezTo>
                    <a:pt x="1037829" y="4721658"/>
                    <a:pt x="1052910" y="4740998"/>
                    <a:pt x="1069215" y="4759411"/>
                  </a:cubicBezTo>
                  <a:cubicBezTo>
                    <a:pt x="1196477" y="4909269"/>
                    <a:pt x="1334527" y="5047199"/>
                    <a:pt x="1474784" y="5177948"/>
                  </a:cubicBezTo>
                  <a:cubicBezTo>
                    <a:pt x="1545281" y="5243033"/>
                    <a:pt x="1617003" y="5305917"/>
                    <a:pt x="1690442" y="5366255"/>
                  </a:cubicBezTo>
                  <a:cubicBezTo>
                    <a:pt x="1763881" y="5426591"/>
                    <a:pt x="1838668" y="5484959"/>
                    <a:pt x="1916276" y="5539852"/>
                  </a:cubicBezTo>
                  <a:cubicBezTo>
                    <a:pt x="2070877" y="5649872"/>
                    <a:pt x="2237617" y="5748194"/>
                    <a:pt x="2420784" y="5814437"/>
                  </a:cubicBezTo>
                  <a:cubicBezTo>
                    <a:pt x="2512124" y="5847559"/>
                    <a:pt x="2606773" y="5872921"/>
                    <a:pt x="2703015" y="5892029"/>
                  </a:cubicBezTo>
                  <a:cubicBezTo>
                    <a:pt x="2727168" y="5896546"/>
                    <a:pt x="2751075" y="5901758"/>
                    <a:pt x="2775350" y="5905695"/>
                  </a:cubicBezTo>
                  <a:lnTo>
                    <a:pt x="2848299" y="5917161"/>
                  </a:lnTo>
                  <a:cubicBezTo>
                    <a:pt x="2897218" y="5923298"/>
                    <a:pt x="2946136" y="5929784"/>
                    <a:pt x="2995544" y="5933605"/>
                  </a:cubicBezTo>
                  <a:cubicBezTo>
                    <a:pt x="3020188" y="5935806"/>
                    <a:pt x="3044831" y="5937891"/>
                    <a:pt x="3069596" y="5938933"/>
                  </a:cubicBezTo>
                  <a:cubicBezTo>
                    <a:pt x="3094362" y="5940090"/>
                    <a:pt x="3119005" y="5941943"/>
                    <a:pt x="3143894" y="5942639"/>
                  </a:cubicBezTo>
                  <a:lnTo>
                    <a:pt x="3218436" y="5944260"/>
                  </a:lnTo>
                  <a:cubicBezTo>
                    <a:pt x="3243201" y="5944838"/>
                    <a:pt x="3268212" y="5944029"/>
                    <a:pt x="3293101" y="5943913"/>
                  </a:cubicBezTo>
                  <a:lnTo>
                    <a:pt x="3330494" y="5943565"/>
                  </a:lnTo>
                  <a:cubicBezTo>
                    <a:pt x="3342632" y="5943218"/>
                    <a:pt x="3354524" y="5942523"/>
                    <a:pt x="3366540" y="5942059"/>
                  </a:cubicBezTo>
                  <a:cubicBezTo>
                    <a:pt x="3378554" y="5941480"/>
                    <a:pt x="3390570" y="5941134"/>
                    <a:pt x="3402462" y="5940323"/>
                  </a:cubicBezTo>
                  <a:lnTo>
                    <a:pt x="3438262" y="5937543"/>
                  </a:lnTo>
                  <a:cubicBezTo>
                    <a:pt x="3485954" y="5933953"/>
                    <a:pt x="3533279" y="5927931"/>
                    <a:pt x="3580236" y="5920982"/>
                  </a:cubicBezTo>
                  <a:cubicBezTo>
                    <a:pt x="3768185" y="5891567"/>
                    <a:pt x="3948901" y="5834010"/>
                    <a:pt x="4121034" y="5753290"/>
                  </a:cubicBezTo>
                  <a:cubicBezTo>
                    <a:pt x="4293782" y="5673497"/>
                    <a:pt x="4458191" y="5571353"/>
                    <a:pt x="4620639" y="5459364"/>
                  </a:cubicBezTo>
                  <a:cubicBezTo>
                    <a:pt x="4661221" y="5431455"/>
                    <a:pt x="4701557" y="5402271"/>
                    <a:pt x="4741771" y="5372971"/>
                  </a:cubicBezTo>
                  <a:cubicBezTo>
                    <a:pt x="4782230" y="5343672"/>
                    <a:pt x="4822566" y="5313908"/>
                    <a:pt x="4862901" y="5283682"/>
                  </a:cubicBezTo>
                  <a:lnTo>
                    <a:pt x="5108229" y="5098386"/>
                  </a:lnTo>
                  <a:cubicBezTo>
                    <a:pt x="5276563" y="4972270"/>
                    <a:pt x="5446489" y="4854838"/>
                    <a:pt x="5612493" y="4739724"/>
                  </a:cubicBezTo>
                  <a:lnTo>
                    <a:pt x="5774333" y="4623488"/>
                  </a:lnTo>
                  <a:lnTo>
                    <a:pt x="5774333" y="5232926"/>
                  </a:lnTo>
                  <a:lnTo>
                    <a:pt x="5676492" y="5306859"/>
                  </a:lnTo>
                  <a:cubicBezTo>
                    <a:pt x="5592693" y="5367905"/>
                    <a:pt x="5508955" y="5427286"/>
                    <a:pt x="5426260" y="5486233"/>
                  </a:cubicBezTo>
                  <a:lnTo>
                    <a:pt x="5300225" y="5576217"/>
                  </a:lnTo>
                  <a:cubicBezTo>
                    <a:pt x="5257559" y="5606443"/>
                    <a:pt x="5214525" y="5636901"/>
                    <a:pt x="5170757" y="5666780"/>
                  </a:cubicBezTo>
                  <a:cubicBezTo>
                    <a:pt x="5127110" y="5696775"/>
                    <a:pt x="5082973" y="5726654"/>
                    <a:pt x="5038100" y="5756185"/>
                  </a:cubicBezTo>
                  <a:cubicBezTo>
                    <a:pt x="4993106" y="5785486"/>
                    <a:pt x="4947743" y="5814553"/>
                    <a:pt x="4901276" y="5843043"/>
                  </a:cubicBezTo>
                  <a:cubicBezTo>
                    <a:pt x="4808835" y="5900136"/>
                    <a:pt x="4713449" y="5955494"/>
                    <a:pt x="4614019" y="6006103"/>
                  </a:cubicBezTo>
                  <a:cubicBezTo>
                    <a:pt x="4514711" y="6056943"/>
                    <a:pt x="4411971" y="6104192"/>
                    <a:pt x="4305061" y="6144726"/>
                  </a:cubicBezTo>
                  <a:cubicBezTo>
                    <a:pt x="4092223" y="6226952"/>
                    <a:pt x="3863569" y="6282424"/>
                    <a:pt x="3632710" y="6304196"/>
                  </a:cubicBezTo>
                  <a:cubicBezTo>
                    <a:pt x="3574964" y="6309408"/>
                    <a:pt x="3517218" y="6313345"/>
                    <a:pt x="3459594" y="6314504"/>
                  </a:cubicBezTo>
                  <a:lnTo>
                    <a:pt x="3416315" y="6315429"/>
                  </a:lnTo>
                  <a:cubicBezTo>
                    <a:pt x="3401971" y="6315546"/>
                    <a:pt x="3387505" y="6315198"/>
                    <a:pt x="3373159" y="6315198"/>
                  </a:cubicBezTo>
                  <a:lnTo>
                    <a:pt x="3330127" y="6314735"/>
                  </a:lnTo>
                  <a:lnTo>
                    <a:pt x="3288320" y="6313230"/>
                  </a:lnTo>
                  <a:cubicBezTo>
                    <a:pt x="3176996" y="6309870"/>
                    <a:pt x="3065428" y="6301533"/>
                    <a:pt x="2954350" y="6288098"/>
                  </a:cubicBezTo>
                  <a:cubicBezTo>
                    <a:pt x="2843150" y="6275360"/>
                    <a:pt x="2732194" y="6257061"/>
                    <a:pt x="2622466" y="6232742"/>
                  </a:cubicBezTo>
                  <a:cubicBezTo>
                    <a:pt x="2512859" y="6208190"/>
                    <a:pt x="2404110" y="6179122"/>
                    <a:pt x="2296466" y="6146001"/>
                  </a:cubicBezTo>
                  <a:cubicBezTo>
                    <a:pt x="2081544" y="6079179"/>
                    <a:pt x="1869073" y="5996027"/>
                    <a:pt x="1672419" y="5885197"/>
                  </a:cubicBezTo>
                  <a:cubicBezTo>
                    <a:pt x="1475643" y="5774599"/>
                    <a:pt x="1299954" y="5634353"/>
                    <a:pt x="1146578" y="5479168"/>
                  </a:cubicBezTo>
                  <a:cubicBezTo>
                    <a:pt x="1069461" y="5401692"/>
                    <a:pt x="999333" y="5319235"/>
                    <a:pt x="933372" y="5234810"/>
                  </a:cubicBezTo>
                  <a:cubicBezTo>
                    <a:pt x="867781" y="5150038"/>
                    <a:pt x="805375" y="5063991"/>
                    <a:pt x="747140" y="4976091"/>
                  </a:cubicBezTo>
                  <a:cubicBezTo>
                    <a:pt x="732182" y="4954319"/>
                    <a:pt x="718082" y="4932199"/>
                    <a:pt x="703616" y="4910196"/>
                  </a:cubicBezTo>
                  <a:lnTo>
                    <a:pt x="662053" y="4846269"/>
                  </a:lnTo>
                  <a:cubicBezTo>
                    <a:pt x="635449" y="4804925"/>
                    <a:pt x="607864" y="4763928"/>
                    <a:pt x="580033" y="4722352"/>
                  </a:cubicBezTo>
                  <a:lnTo>
                    <a:pt x="410105" y="4469193"/>
                  </a:lnTo>
                  <a:cubicBezTo>
                    <a:pt x="353095" y="4382915"/>
                    <a:pt x="296820" y="4294089"/>
                    <a:pt x="244224" y="4201556"/>
                  </a:cubicBezTo>
                  <a:cubicBezTo>
                    <a:pt x="217987" y="4155232"/>
                    <a:pt x="192609" y="4108098"/>
                    <a:pt x="169437" y="4059690"/>
                  </a:cubicBezTo>
                  <a:cubicBezTo>
                    <a:pt x="146388" y="4011165"/>
                    <a:pt x="124932" y="3961715"/>
                    <a:pt x="105929" y="3911221"/>
                  </a:cubicBezTo>
                  <a:cubicBezTo>
                    <a:pt x="87293" y="3860613"/>
                    <a:pt x="70742" y="3809309"/>
                    <a:pt x="57256" y="3757195"/>
                  </a:cubicBezTo>
                  <a:cubicBezTo>
                    <a:pt x="50881" y="3731138"/>
                    <a:pt x="44383" y="3704965"/>
                    <a:pt x="39111" y="3678677"/>
                  </a:cubicBezTo>
                  <a:lnTo>
                    <a:pt x="31142" y="3639300"/>
                  </a:lnTo>
                  <a:lnTo>
                    <a:pt x="24521" y="3599809"/>
                  </a:lnTo>
                  <a:cubicBezTo>
                    <a:pt x="7234" y="3494423"/>
                    <a:pt x="0" y="3388457"/>
                    <a:pt x="0" y="3283418"/>
                  </a:cubicBezTo>
                  <a:cubicBezTo>
                    <a:pt x="491" y="3076698"/>
                    <a:pt x="23418" y="2869978"/>
                    <a:pt x="68045" y="2666963"/>
                  </a:cubicBezTo>
                  <a:cubicBezTo>
                    <a:pt x="112550" y="2464064"/>
                    <a:pt x="180717" y="2265104"/>
                    <a:pt x="272546" y="2076334"/>
                  </a:cubicBezTo>
                  <a:cubicBezTo>
                    <a:pt x="457062" y="1698794"/>
                    <a:pt x="724457" y="1360978"/>
                    <a:pt x="1039300" y="1073307"/>
                  </a:cubicBezTo>
                  <a:cubicBezTo>
                    <a:pt x="1197090" y="929472"/>
                    <a:pt x="1367630" y="798259"/>
                    <a:pt x="1547733" y="680365"/>
                  </a:cubicBezTo>
                  <a:cubicBezTo>
                    <a:pt x="1728081" y="562587"/>
                    <a:pt x="1917870" y="457663"/>
                    <a:pt x="2115995" y="368373"/>
                  </a:cubicBezTo>
                  <a:cubicBezTo>
                    <a:pt x="2512737" y="191070"/>
                    <a:pt x="2939883" y="73870"/>
                    <a:pt x="3377451" y="24304"/>
                  </a:cubicBezTo>
                  <a:cubicBezTo>
                    <a:pt x="3486812" y="12086"/>
                    <a:pt x="3596971" y="4500"/>
                    <a:pt x="3707237" y="1489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EC18CE1F-9DF1-47AF-9E66-6CE348AC233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410220" y="131729"/>
              <a:ext cx="5769111" cy="6229400"/>
            </a:xfrm>
            <a:custGeom>
              <a:avLst/>
              <a:gdLst>
                <a:gd name="connsiteX0" fmla="*/ 3882695 w 5769111"/>
                <a:gd name="connsiteY0" fmla="*/ 0 h 6229400"/>
                <a:gd name="connsiteX1" fmla="*/ 5691883 w 5769111"/>
                <a:gd name="connsiteY1" fmla="*/ 557381 h 6229400"/>
                <a:gd name="connsiteX2" fmla="*/ 5769111 w 5769111"/>
                <a:gd name="connsiteY2" fmla="*/ 620523 h 6229400"/>
                <a:gd name="connsiteX3" fmla="*/ 5769111 w 5769111"/>
                <a:gd name="connsiteY3" fmla="*/ 1464911 h 6229400"/>
                <a:gd name="connsiteX4" fmla="*/ 5660063 w 5769111"/>
                <a:gd name="connsiteY4" fmla="*/ 1328105 h 6229400"/>
                <a:gd name="connsiteX5" fmla="*/ 4910471 w 5769111"/>
                <a:gd name="connsiteY5" fmla="*/ 781599 h 6229400"/>
                <a:gd name="connsiteX6" fmla="*/ 3882695 w 5769111"/>
                <a:gd name="connsiteY6" fmla="*/ 579048 h 6229400"/>
                <a:gd name="connsiteX7" fmla="*/ 2683153 w 5769111"/>
                <a:gd name="connsiteY7" fmla="*/ 797003 h 6229400"/>
                <a:gd name="connsiteX8" fmla="*/ 1617493 w 5769111"/>
                <a:gd name="connsiteY8" fmla="*/ 1395738 h 6229400"/>
                <a:gd name="connsiteX9" fmla="*/ 880408 w 5769111"/>
                <a:gd name="connsiteY9" fmla="*/ 2259099 h 6229400"/>
                <a:gd name="connsiteX10" fmla="*/ 613135 w 5769111"/>
                <a:gd name="connsiteY10" fmla="*/ 3263863 h 6229400"/>
                <a:gd name="connsiteX11" fmla="*/ 1055484 w 5769111"/>
                <a:gd name="connsiteY11" fmla="*/ 4196825 h 6229400"/>
                <a:gd name="connsiteX12" fmla="*/ 1278376 w 5769111"/>
                <a:gd name="connsiteY12" fmla="*/ 4492950 h 6229400"/>
                <a:gd name="connsiteX13" fmla="*/ 3369851 w 5769111"/>
                <a:gd name="connsiteY13" fmla="*/ 5650468 h 6229400"/>
                <a:gd name="connsiteX14" fmla="*/ 4957551 w 5769111"/>
                <a:gd name="connsiteY14" fmla="*/ 4938355 h 6229400"/>
                <a:gd name="connsiteX15" fmla="*/ 5150773 w 5769111"/>
                <a:gd name="connsiteY15" fmla="*/ 4796950 h 6229400"/>
                <a:gd name="connsiteX16" fmla="*/ 5747247 w 5769111"/>
                <a:gd name="connsiteY16" fmla="*/ 4338176 h 6229400"/>
                <a:gd name="connsiteX17" fmla="*/ 5769111 w 5769111"/>
                <a:gd name="connsiteY17" fmla="*/ 4318497 h 6229400"/>
                <a:gd name="connsiteX18" fmla="*/ 5769111 w 5769111"/>
                <a:gd name="connsiteY18" fmla="*/ 5074612 h 6229400"/>
                <a:gd name="connsiteX19" fmla="*/ 5636252 w 5769111"/>
                <a:gd name="connsiteY19" fmla="*/ 5174208 h 6229400"/>
                <a:gd name="connsiteX20" fmla="*/ 5334922 w 5769111"/>
                <a:gd name="connsiteY20" fmla="*/ 5394528 h 6229400"/>
                <a:gd name="connsiteX21" fmla="*/ 3369727 w 5769111"/>
                <a:gd name="connsiteY21" fmla="*/ 6229400 h 6229400"/>
                <a:gd name="connsiteX22" fmla="*/ 771046 w 5769111"/>
                <a:gd name="connsiteY22" fmla="*/ 4817913 h 6229400"/>
                <a:gd name="connsiteX23" fmla="*/ 0 w 5769111"/>
                <a:gd name="connsiteY23" fmla="*/ 3263748 h 6229400"/>
                <a:gd name="connsiteX24" fmla="*/ 3882695 w 5769111"/>
                <a:gd name="connsiteY24" fmla="*/ 0 h 622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5769111" h="6229400">
                  <a:moveTo>
                    <a:pt x="3882695" y="0"/>
                  </a:moveTo>
                  <a:cubicBezTo>
                    <a:pt x="4601253" y="0"/>
                    <a:pt x="5210727" y="205477"/>
                    <a:pt x="5691883" y="557381"/>
                  </a:cubicBezTo>
                  <a:lnTo>
                    <a:pt x="5769111" y="620523"/>
                  </a:lnTo>
                  <a:lnTo>
                    <a:pt x="5769111" y="1464911"/>
                  </a:lnTo>
                  <a:lnTo>
                    <a:pt x="5660063" y="1328105"/>
                  </a:lnTo>
                  <a:cubicBezTo>
                    <a:pt x="5449800" y="1091506"/>
                    <a:pt x="5197607" y="907600"/>
                    <a:pt x="4910471" y="781599"/>
                  </a:cubicBezTo>
                  <a:cubicBezTo>
                    <a:pt x="4604088" y="647260"/>
                    <a:pt x="4258349" y="579048"/>
                    <a:pt x="3882695" y="579048"/>
                  </a:cubicBezTo>
                  <a:cubicBezTo>
                    <a:pt x="3484238" y="579048"/>
                    <a:pt x="3080631" y="652240"/>
                    <a:pt x="2683153" y="797003"/>
                  </a:cubicBezTo>
                  <a:cubicBezTo>
                    <a:pt x="2296098" y="937595"/>
                    <a:pt x="1927678" y="1144662"/>
                    <a:pt x="1617493" y="1395738"/>
                  </a:cubicBezTo>
                  <a:cubicBezTo>
                    <a:pt x="1301915" y="1651098"/>
                    <a:pt x="1053890" y="1941665"/>
                    <a:pt x="880408" y="2259099"/>
                  </a:cubicBezTo>
                  <a:cubicBezTo>
                    <a:pt x="703125" y="2583597"/>
                    <a:pt x="613135" y="2921645"/>
                    <a:pt x="613135" y="3263863"/>
                  </a:cubicBezTo>
                  <a:cubicBezTo>
                    <a:pt x="613135" y="3608512"/>
                    <a:pt x="756702" y="3809789"/>
                    <a:pt x="1055484" y="4196825"/>
                  </a:cubicBezTo>
                  <a:cubicBezTo>
                    <a:pt x="1127574" y="4290167"/>
                    <a:pt x="1202116" y="4386753"/>
                    <a:pt x="1278376" y="4492950"/>
                  </a:cubicBezTo>
                  <a:cubicBezTo>
                    <a:pt x="1861105" y="5304313"/>
                    <a:pt x="2486623" y="5650468"/>
                    <a:pt x="3369851" y="5650468"/>
                  </a:cubicBezTo>
                  <a:cubicBezTo>
                    <a:pt x="3949515" y="5650468"/>
                    <a:pt x="4374822" y="5368471"/>
                    <a:pt x="4957551" y="4938355"/>
                  </a:cubicBezTo>
                  <a:cubicBezTo>
                    <a:pt x="5022653" y="4890293"/>
                    <a:pt x="5087755" y="4842811"/>
                    <a:pt x="5150773" y="4796950"/>
                  </a:cubicBezTo>
                  <a:cubicBezTo>
                    <a:pt x="5364254" y="4641404"/>
                    <a:pt x="5570313" y="4491241"/>
                    <a:pt x="5747247" y="4338176"/>
                  </a:cubicBezTo>
                  <a:lnTo>
                    <a:pt x="5769111" y="4318497"/>
                  </a:lnTo>
                  <a:lnTo>
                    <a:pt x="5769111" y="5074612"/>
                  </a:lnTo>
                  <a:lnTo>
                    <a:pt x="5636252" y="5174208"/>
                  </a:lnTo>
                  <a:cubicBezTo>
                    <a:pt x="5537051" y="5246835"/>
                    <a:pt x="5436100" y="5319845"/>
                    <a:pt x="5334922" y="5394528"/>
                  </a:cubicBezTo>
                  <a:cubicBezTo>
                    <a:pt x="4745327" y="5829741"/>
                    <a:pt x="4177309" y="6229400"/>
                    <a:pt x="3369727" y="6229400"/>
                  </a:cubicBezTo>
                  <a:cubicBezTo>
                    <a:pt x="2172147" y="6229400"/>
                    <a:pt x="1394603" y="5686137"/>
                    <a:pt x="771046" y="4817913"/>
                  </a:cubicBezTo>
                  <a:cubicBezTo>
                    <a:pt x="396864" y="4297000"/>
                    <a:pt x="0" y="3939728"/>
                    <a:pt x="0" y="3263748"/>
                  </a:cubicBezTo>
                  <a:cubicBezTo>
                    <a:pt x="0" y="1461170"/>
                    <a:pt x="1955141" y="0"/>
                    <a:pt x="3882695" y="0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BD26A8C-8D1D-41E6-A71E-FE9AC75F3F8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410220" y="131729"/>
              <a:ext cx="5769111" cy="6229400"/>
            </a:xfrm>
            <a:custGeom>
              <a:avLst/>
              <a:gdLst>
                <a:gd name="connsiteX0" fmla="*/ 3882695 w 5769111"/>
                <a:gd name="connsiteY0" fmla="*/ 0 h 6229400"/>
                <a:gd name="connsiteX1" fmla="*/ 5691883 w 5769111"/>
                <a:gd name="connsiteY1" fmla="*/ 557381 h 6229400"/>
                <a:gd name="connsiteX2" fmla="*/ 5769111 w 5769111"/>
                <a:gd name="connsiteY2" fmla="*/ 620523 h 6229400"/>
                <a:gd name="connsiteX3" fmla="*/ 5769111 w 5769111"/>
                <a:gd name="connsiteY3" fmla="*/ 1675390 h 6229400"/>
                <a:gd name="connsiteX4" fmla="*/ 5711488 w 5769111"/>
                <a:gd name="connsiteY4" fmla="*/ 1585205 h 6229400"/>
                <a:gd name="connsiteX5" fmla="*/ 5566027 w 5769111"/>
                <a:gd name="connsiteY5" fmla="*/ 1402571 h 6229400"/>
                <a:gd name="connsiteX6" fmla="*/ 4858734 w 5769111"/>
                <a:gd name="connsiteY6" fmla="*/ 886639 h 6229400"/>
                <a:gd name="connsiteX7" fmla="*/ 3882695 w 5769111"/>
                <a:gd name="connsiteY7" fmla="*/ 694858 h 6229400"/>
                <a:gd name="connsiteX8" fmla="*/ 2727046 w 5769111"/>
                <a:gd name="connsiteY8" fmla="*/ 905053 h 6229400"/>
                <a:gd name="connsiteX9" fmla="*/ 1697186 w 5769111"/>
                <a:gd name="connsiteY9" fmla="*/ 1483638 h 6229400"/>
                <a:gd name="connsiteX10" fmla="*/ 989279 w 5769111"/>
                <a:gd name="connsiteY10" fmla="*/ 2312139 h 6229400"/>
                <a:gd name="connsiteX11" fmla="*/ 735615 w 5769111"/>
                <a:gd name="connsiteY11" fmla="*/ 3263863 h 6229400"/>
                <a:gd name="connsiteX12" fmla="*/ 1154424 w 5769111"/>
                <a:gd name="connsiteY12" fmla="*/ 4128614 h 6229400"/>
                <a:gd name="connsiteX13" fmla="*/ 1379768 w 5769111"/>
                <a:gd name="connsiteY13" fmla="*/ 4427981 h 6229400"/>
                <a:gd name="connsiteX14" fmla="*/ 2239456 w 5769111"/>
                <a:gd name="connsiteY14" fmla="*/ 5256947 h 6229400"/>
                <a:gd name="connsiteX15" fmla="*/ 3369727 w 5769111"/>
                <a:gd name="connsiteY15" fmla="*/ 5534658 h 6229400"/>
                <a:gd name="connsiteX16" fmla="*/ 4096760 w 5769111"/>
                <a:gd name="connsiteY16" fmla="*/ 5357817 h 6229400"/>
                <a:gd name="connsiteX17" fmla="*/ 4881905 w 5769111"/>
                <a:gd name="connsiteY17" fmla="*/ 4847212 h 6229400"/>
                <a:gd name="connsiteX18" fmla="*/ 5075739 w 5769111"/>
                <a:gd name="connsiteY18" fmla="*/ 4705346 h 6229400"/>
                <a:gd name="connsiteX19" fmla="*/ 5759930 w 5769111"/>
                <a:gd name="connsiteY19" fmla="*/ 4166809 h 6229400"/>
                <a:gd name="connsiteX20" fmla="*/ 5769111 w 5769111"/>
                <a:gd name="connsiteY20" fmla="*/ 4157764 h 6229400"/>
                <a:gd name="connsiteX21" fmla="*/ 5769111 w 5769111"/>
                <a:gd name="connsiteY21" fmla="*/ 5074612 h 6229400"/>
                <a:gd name="connsiteX22" fmla="*/ 5636252 w 5769111"/>
                <a:gd name="connsiteY22" fmla="*/ 5174208 h 6229400"/>
                <a:gd name="connsiteX23" fmla="*/ 5334922 w 5769111"/>
                <a:gd name="connsiteY23" fmla="*/ 5394528 h 6229400"/>
                <a:gd name="connsiteX24" fmla="*/ 3369727 w 5769111"/>
                <a:gd name="connsiteY24" fmla="*/ 6229400 h 6229400"/>
                <a:gd name="connsiteX25" fmla="*/ 771046 w 5769111"/>
                <a:gd name="connsiteY25" fmla="*/ 4817913 h 6229400"/>
                <a:gd name="connsiteX26" fmla="*/ 0 w 5769111"/>
                <a:gd name="connsiteY26" fmla="*/ 3263748 h 6229400"/>
                <a:gd name="connsiteX27" fmla="*/ 3882695 w 5769111"/>
                <a:gd name="connsiteY27" fmla="*/ 0 h 6229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5769111" h="6229400">
                  <a:moveTo>
                    <a:pt x="3882695" y="0"/>
                  </a:moveTo>
                  <a:cubicBezTo>
                    <a:pt x="4601253" y="0"/>
                    <a:pt x="5210727" y="205477"/>
                    <a:pt x="5691883" y="557381"/>
                  </a:cubicBezTo>
                  <a:lnTo>
                    <a:pt x="5769111" y="620523"/>
                  </a:lnTo>
                  <a:lnTo>
                    <a:pt x="5769111" y="1675390"/>
                  </a:lnTo>
                  <a:lnTo>
                    <a:pt x="5711488" y="1585205"/>
                  </a:lnTo>
                  <a:cubicBezTo>
                    <a:pt x="5665942" y="1521390"/>
                    <a:pt x="5617428" y="1460432"/>
                    <a:pt x="5566027" y="1402571"/>
                  </a:cubicBezTo>
                  <a:cubicBezTo>
                    <a:pt x="5367411" y="1179058"/>
                    <a:pt x="5129563" y="1005460"/>
                    <a:pt x="4858734" y="886639"/>
                  </a:cubicBezTo>
                  <a:cubicBezTo>
                    <a:pt x="4568779" y="759363"/>
                    <a:pt x="4240327" y="694858"/>
                    <a:pt x="3882695" y="694858"/>
                  </a:cubicBezTo>
                  <a:cubicBezTo>
                    <a:pt x="3504835" y="694858"/>
                    <a:pt x="3105151" y="767471"/>
                    <a:pt x="2727046" y="905053"/>
                  </a:cubicBezTo>
                  <a:cubicBezTo>
                    <a:pt x="2352985" y="1041013"/>
                    <a:pt x="1996826" y="1241132"/>
                    <a:pt x="1697186" y="1483638"/>
                  </a:cubicBezTo>
                  <a:cubicBezTo>
                    <a:pt x="1397913" y="1725796"/>
                    <a:pt x="1153199" y="2012308"/>
                    <a:pt x="989279" y="2312139"/>
                  </a:cubicBezTo>
                  <a:cubicBezTo>
                    <a:pt x="820946" y="2620077"/>
                    <a:pt x="735615" y="2940290"/>
                    <a:pt x="735615" y="3263863"/>
                  </a:cubicBezTo>
                  <a:cubicBezTo>
                    <a:pt x="735615" y="3573074"/>
                    <a:pt x="863980" y="3752464"/>
                    <a:pt x="1154424" y="4128614"/>
                  </a:cubicBezTo>
                  <a:cubicBezTo>
                    <a:pt x="1227127" y="4222767"/>
                    <a:pt x="1302282" y="4320162"/>
                    <a:pt x="1379768" y="4427981"/>
                  </a:cubicBezTo>
                  <a:cubicBezTo>
                    <a:pt x="1653784" y="4809458"/>
                    <a:pt x="1934912" y="5080685"/>
                    <a:pt x="2239456" y="5256947"/>
                  </a:cubicBezTo>
                  <a:cubicBezTo>
                    <a:pt x="2562268" y="5443863"/>
                    <a:pt x="2932037" y="5534658"/>
                    <a:pt x="3369727" y="5534658"/>
                  </a:cubicBezTo>
                  <a:cubicBezTo>
                    <a:pt x="3618120" y="5534658"/>
                    <a:pt x="3849103" y="5478491"/>
                    <a:pt x="4096760" y="5357817"/>
                  </a:cubicBezTo>
                  <a:cubicBezTo>
                    <a:pt x="4351037" y="5233901"/>
                    <a:pt x="4602740" y="5053238"/>
                    <a:pt x="4881905" y="4847212"/>
                  </a:cubicBezTo>
                  <a:cubicBezTo>
                    <a:pt x="4947375" y="4798920"/>
                    <a:pt x="5012599" y="4751322"/>
                    <a:pt x="5075739" y="4705346"/>
                  </a:cubicBezTo>
                  <a:cubicBezTo>
                    <a:pt x="5327320" y="4521990"/>
                    <a:pt x="5568418" y="4346256"/>
                    <a:pt x="5759930" y="4166809"/>
                  </a:cubicBezTo>
                  <a:lnTo>
                    <a:pt x="5769111" y="4157764"/>
                  </a:lnTo>
                  <a:lnTo>
                    <a:pt x="5769111" y="5074612"/>
                  </a:lnTo>
                  <a:lnTo>
                    <a:pt x="5636252" y="5174208"/>
                  </a:lnTo>
                  <a:cubicBezTo>
                    <a:pt x="5537051" y="5246835"/>
                    <a:pt x="5436100" y="5319845"/>
                    <a:pt x="5334922" y="5394528"/>
                  </a:cubicBezTo>
                  <a:cubicBezTo>
                    <a:pt x="4745327" y="5829741"/>
                    <a:pt x="4177309" y="6229400"/>
                    <a:pt x="3369727" y="6229400"/>
                  </a:cubicBezTo>
                  <a:cubicBezTo>
                    <a:pt x="2172147" y="6229400"/>
                    <a:pt x="1394603" y="5686137"/>
                    <a:pt x="771046" y="4817913"/>
                  </a:cubicBezTo>
                  <a:cubicBezTo>
                    <a:pt x="396864" y="4297000"/>
                    <a:pt x="0" y="3939728"/>
                    <a:pt x="0" y="3263748"/>
                  </a:cubicBezTo>
                  <a:cubicBezTo>
                    <a:pt x="0" y="1461170"/>
                    <a:pt x="1955141" y="0"/>
                    <a:pt x="3882695" y="0"/>
                  </a:cubicBezTo>
                  <a:close/>
                </a:path>
              </a:pathLst>
            </a:custGeom>
            <a:gradFill>
              <a:gsLst>
                <a:gs pos="2000">
                  <a:schemeClr val="bg1">
                    <a:alpha val="10000"/>
                  </a:schemeClr>
                </a:gs>
                <a:gs pos="16000">
                  <a:schemeClr val="accent6">
                    <a:alpha val="10000"/>
                  </a:schemeClr>
                </a:gs>
                <a:gs pos="100000">
                  <a:schemeClr val="bg1">
                    <a:alpha val="10000"/>
                  </a:schemeClr>
                </a:gs>
                <a:gs pos="85000">
                  <a:schemeClr val="accent1">
                    <a:alpha val="10000"/>
                  </a:schemeClr>
                </a:gs>
              </a:gsLst>
              <a:lin ang="12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9" name="Graphic 8" descr="Bücher">
            <a:extLst>
              <a:ext uri="{FF2B5EF4-FFF2-40B4-BE49-F238E27FC236}">
                <a16:creationId xmlns:a16="http://schemas.microsoft.com/office/drawing/2014/main" id="{FDD63267-7494-F289-C367-677DD4AAC3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21726" y="1629089"/>
            <a:ext cx="3620021" cy="3620021"/>
          </a:xfrm>
          <a:prstGeom prst="rect">
            <a:avLst/>
          </a:prstGeom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89DCFAC1-1FBC-EA26-FDBC-F389FA1FEB8A}"/>
              </a:ext>
            </a:extLst>
          </p:cNvPr>
          <p:cNvSpPr txBox="1"/>
          <p:nvPr/>
        </p:nvSpPr>
        <p:spPr>
          <a:xfrm>
            <a:off x="4625491" y="6409021"/>
            <a:ext cx="504433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000" dirty="0" err="1"/>
              <a:t>Siehe</a:t>
            </a:r>
            <a:r>
              <a:rPr lang="en-US" sz="1000" dirty="0"/>
              <a:t> </a:t>
            </a:r>
            <a:r>
              <a:rPr lang="en-US" sz="1000" dirty="0" err="1"/>
              <a:t>auch</a:t>
            </a:r>
            <a:r>
              <a:rPr lang="en-US" sz="1000" dirty="0"/>
              <a:t> </a:t>
            </a:r>
            <a:r>
              <a:rPr lang="de-DE" sz="1000" b="0" i="0" dirty="0">
                <a:solidFill>
                  <a:srgbClr val="000000"/>
                </a:solidFill>
                <a:effectLst/>
              </a:rPr>
              <a:t>Zabal et al. (2014</a:t>
            </a:r>
            <a:r>
              <a:rPr lang="de-DE" sz="1000" dirty="0"/>
              <a:t>). </a:t>
            </a:r>
            <a:r>
              <a:rPr lang="de-DE" sz="1000" dirty="0">
                <a:hlinkClick r:id="rId5"/>
              </a:rPr>
              <a:t>PIAAC Germany 2012: Technical Report</a:t>
            </a:r>
            <a:endParaRPr lang="en-US" sz="1000" dirty="0"/>
          </a:p>
        </p:txBody>
      </p:sp>
      <p:graphicFrame>
        <p:nvGraphicFramePr>
          <p:cNvPr id="40" name="Textfeld 4">
            <a:extLst>
              <a:ext uri="{FF2B5EF4-FFF2-40B4-BE49-F238E27FC236}">
                <a16:creationId xmlns:a16="http://schemas.microsoft.com/office/drawing/2014/main" id="{305F835B-D5AE-09CF-7E8A-C32B542D9DED}"/>
              </a:ext>
            </a:extLst>
          </p:cNvPr>
          <p:cNvGraphicFramePr/>
          <p:nvPr/>
        </p:nvGraphicFramePr>
        <p:xfrm>
          <a:off x="804672" y="2421682"/>
          <a:ext cx="5481828" cy="36392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5" name="Foliennummernplatzhalter 1">
            <a:extLst>
              <a:ext uri="{FF2B5EF4-FFF2-40B4-BE49-F238E27FC236}">
                <a16:creationId xmlns:a16="http://schemas.microsoft.com/office/drawing/2014/main" id="{7EB2DFF9-A0C1-F8C2-90F8-37C606AA2DC5}"/>
              </a:ext>
            </a:extLst>
          </p:cNvPr>
          <p:cNvSpPr txBox="1">
            <a:spLocks/>
          </p:cNvSpPr>
          <p:nvPr/>
        </p:nvSpPr>
        <p:spPr>
          <a:xfrm>
            <a:off x="10926476" y="6356350"/>
            <a:ext cx="625443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 anchorCtr="1">
            <a:norm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fld id="{5466DDEF-6F62-4E10-A7D9-534B7EFA16E6}" type="slidenum">
              <a:rPr lang="en-US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l">
                <a:spcAft>
                  <a:spcPts val="600"/>
                </a:spcAft>
              </a:pPr>
              <a:t>22</a:t>
            </a:fld>
            <a:endParaRPr lang="en-US" dirty="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526386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6B8ECC0A-3F12-964D-319D-7F3EE6B074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PIAAC-L Design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EBF6B876-B5F9-B725-9544-B4402DB77F89}"/>
              </a:ext>
            </a:extLst>
          </p:cNvPr>
          <p:cNvSpPr/>
          <p:nvPr/>
        </p:nvSpPr>
        <p:spPr>
          <a:xfrm>
            <a:off x="1514792" y="2439638"/>
            <a:ext cx="1800000" cy="1208692"/>
          </a:xfrm>
          <a:prstGeom prst="rect">
            <a:avLst/>
          </a:prstGeom>
          <a:solidFill>
            <a:srgbClr val="D4ED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72000" bIns="72000" rtlCol="0" anchor="t"/>
          <a:lstStyle/>
          <a:p>
            <a:pPr>
              <a:spcAft>
                <a:spcPts val="600"/>
              </a:spcAft>
            </a:pPr>
            <a:r>
              <a:rPr lang="de-DE" sz="1400" b="1" dirty="0">
                <a:solidFill>
                  <a:schemeClr val="tx1"/>
                </a:solidFill>
              </a:rPr>
              <a:t>Teilnehmer </a:t>
            </a:r>
            <a:br>
              <a:rPr lang="de-DE" sz="1400" b="1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n = 5.000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A3DC6515-9B12-E017-DB9A-A605DB431479}"/>
              </a:ext>
            </a:extLst>
          </p:cNvPr>
          <p:cNvSpPr/>
          <p:nvPr/>
        </p:nvSpPr>
        <p:spPr>
          <a:xfrm>
            <a:off x="1514792" y="5638279"/>
            <a:ext cx="1800000" cy="540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/>
              <a:t>2012</a:t>
            </a: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0CF43131-D8BE-0EF2-A8F1-35D4D98960DB}"/>
              </a:ext>
            </a:extLst>
          </p:cNvPr>
          <p:cNvSpPr/>
          <p:nvPr/>
        </p:nvSpPr>
        <p:spPr>
          <a:xfrm>
            <a:off x="3650584" y="5638279"/>
            <a:ext cx="1800000" cy="540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/>
              <a:t>2014</a:t>
            </a: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950C08E4-5300-772A-1686-43C8B521A9F7}"/>
              </a:ext>
            </a:extLst>
          </p:cNvPr>
          <p:cNvSpPr/>
          <p:nvPr/>
        </p:nvSpPr>
        <p:spPr>
          <a:xfrm>
            <a:off x="5786376" y="5638279"/>
            <a:ext cx="1800000" cy="540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/>
              <a:t>2015</a:t>
            </a:r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CBC06536-3A90-E882-B1BF-389193E6F5F2}"/>
              </a:ext>
            </a:extLst>
          </p:cNvPr>
          <p:cNvSpPr/>
          <p:nvPr/>
        </p:nvSpPr>
        <p:spPr>
          <a:xfrm>
            <a:off x="7922168" y="5638279"/>
            <a:ext cx="1800000" cy="540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/>
              <a:t>2016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6E552579-EAC6-0812-A105-8D0AC36F1350}"/>
              </a:ext>
            </a:extLst>
          </p:cNvPr>
          <p:cNvSpPr/>
          <p:nvPr/>
        </p:nvSpPr>
        <p:spPr>
          <a:xfrm>
            <a:off x="1514792" y="1832505"/>
            <a:ext cx="1800000" cy="540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/>
              <a:t>PIAAC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E60E9938-DDF2-7C71-D817-BE5EBD9C910F}"/>
              </a:ext>
            </a:extLst>
          </p:cNvPr>
          <p:cNvSpPr/>
          <p:nvPr/>
        </p:nvSpPr>
        <p:spPr>
          <a:xfrm>
            <a:off x="3650584" y="1832505"/>
            <a:ext cx="1800000" cy="540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/>
              <a:t>PIAAC-L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BB5D5658-DF16-F7E4-275F-FA4100DD900E}"/>
              </a:ext>
            </a:extLst>
          </p:cNvPr>
          <p:cNvSpPr/>
          <p:nvPr/>
        </p:nvSpPr>
        <p:spPr>
          <a:xfrm>
            <a:off x="5786376" y="1832505"/>
            <a:ext cx="1800000" cy="540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/>
              <a:t>PIAAC-L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D3AFA57E-1BC0-F92E-075B-8F514E1FC7A0}"/>
              </a:ext>
            </a:extLst>
          </p:cNvPr>
          <p:cNvSpPr/>
          <p:nvPr/>
        </p:nvSpPr>
        <p:spPr>
          <a:xfrm>
            <a:off x="7922168" y="1832505"/>
            <a:ext cx="1800000" cy="540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/>
              <a:t>PIAAC-L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0FFD2943-E819-7287-F61F-03A35224D351}"/>
              </a:ext>
            </a:extLst>
          </p:cNvPr>
          <p:cNvSpPr/>
          <p:nvPr/>
        </p:nvSpPr>
        <p:spPr>
          <a:xfrm>
            <a:off x="3650584" y="2439638"/>
            <a:ext cx="1800000" cy="1208692"/>
          </a:xfrm>
          <a:prstGeom prst="rect">
            <a:avLst/>
          </a:prstGeom>
          <a:solidFill>
            <a:srgbClr val="D4ED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72000" bIns="72000" rtlCol="0" anchor="t"/>
          <a:lstStyle/>
          <a:p>
            <a:pPr>
              <a:spcAft>
                <a:spcPts val="600"/>
              </a:spcAft>
            </a:pPr>
            <a:r>
              <a:rPr lang="de-DE" sz="1400" b="1" dirty="0">
                <a:solidFill>
                  <a:schemeClr val="tx1"/>
                </a:solidFill>
              </a:rPr>
              <a:t>Anker </a:t>
            </a:r>
            <a:br>
              <a:rPr lang="de-DE" sz="1400" b="1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n = 3.758</a:t>
            </a:r>
          </a:p>
          <a:p>
            <a:pPr>
              <a:spcAft>
                <a:spcPts val="600"/>
              </a:spcAft>
            </a:pPr>
            <a:r>
              <a:rPr lang="de-DE" sz="1400" b="1" dirty="0">
                <a:solidFill>
                  <a:schemeClr val="tx1"/>
                </a:solidFill>
              </a:rPr>
              <a:t>HH-Mitglieder</a:t>
            </a:r>
            <a:br>
              <a:rPr lang="de-DE" sz="1400" b="1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n = 2.473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962A0F55-9419-524B-AD8B-9EAD66F4688D}"/>
              </a:ext>
            </a:extLst>
          </p:cNvPr>
          <p:cNvSpPr/>
          <p:nvPr/>
        </p:nvSpPr>
        <p:spPr>
          <a:xfrm>
            <a:off x="5786376" y="2439638"/>
            <a:ext cx="1800000" cy="1208692"/>
          </a:xfrm>
          <a:prstGeom prst="rect">
            <a:avLst/>
          </a:prstGeom>
          <a:solidFill>
            <a:srgbClr val="D4ED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72000" bIns="72000" rtlCol="0" anchor="t"/>
          <a:lstStyle/>
          <a:p>
            <a:pPr>
              <a:spcAft>
                <a:spcPts val="600"/>
              </a:spcAft>
            </a:pPr>
            <a:r>
              <a:rPr lang="de-DE" sz="1400" b="1" dirty="0">
                <a:solidFill>
                  <a:schemeClr val="tx1"/>
                </a:solidFill>
              </a:rPr>
              <a:t>Anker </a:t>
            </a:r>
            <a:br>
              <a:rPr lang="de-DE" sz="1400" b="1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n = 3.263</a:t>
            </a:r>
          </a:p>
          <a:p>
            <a:pPr>
              <a:spcAft>
                <a:spcPts val="600"/>
              </a:spcAft>
            </a:pPr>
            <a:r>
              <a:rPr lang="de-DE" sz="1400" b="1" dirty="0">
                <a:solidFill>
                  <a:schemeClr val="tx1"/>
                </a:solidFill>
              </a:rPr>
              <a:t>Partner</a:t>
            </a:r>
            <a:br>
              <a:rPr lang="de-DE" sz="1400" b="1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n = 1.368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73A324DA-2059-796D-C1CD-70BA865E08A9}"/>
              </a:ext>
            </a:extLst>
          </p:cNvPr>
          <p:cNvSpPr/>
          <p:nvPr/>
        </p:nvSpPr>
        <p:spPr>
          <a:xfrm>
            <a:off x="7922168" y="2439638"/>
            <a:ext cx="1800000" cy="1208692"/>
          </a:xfrm>
          <a:prstGeom prst="rect">
            <a:avLst/>
          </a:prstGeom>
          <a:solidFill>
            <a:srgbClr val="D4ED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72000" rIns="72000" bIns="72000" rtlCol="0" anchor="t"/>
          <a:lstStyle/>
          <a:p>
            <a:pPr>
              <a:spcAft>
                <a:spcPts val="600"/>
              </a:spcAft>
            </a:pPr>
            <a:r>
              <a:rPr lang="de-DE" sz="1400" b="1" dirty="0">
                <a:solidFill>
                  <a:schemeClr val="tx1"/>
                </a:solidFill>
              </a:rPr>
              <a:t>Anker </a:t>
            </a:r>
            <a:br>
              <a:rPr lang="de-DE" sz="1400" b="1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n = 2.967</a:t>
            </a:r>
          </a:p>
          <a:p>
            <a:pPr>
              <a:spcAft>
                <a:spcPts val="600"/>
              </a:spcAft>
            </a:pPr>
            <a:r>
              <a:rPr lang="de-DE" sz="1400" b="1" dirty="0">
                <a:solidFill>
                  <a:schemeClr val="tx1"/>
                </a:solidFill>
              </a:rPr>
              <a:t>HH-Mitglieder</a:t>
            </a:r>
            <a:br>
              <a:rPr lang="de-DE" sz="1400" b="1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n = 1.914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CC8416D6-3E6E-2DDC-8A3C-7AEFBBBDEF73}"/>
              </a:ext>
            </a:extLst>
          </p:cNvPr>
          <p:cNvSpPr/>
          <p:nvPr/>
        </p:nvSpPr>
        <p:spPr>
          <a:xfrm>
            <a:off x="3650584" y="3773212"/>
            <a:ext cx="1800000" cy="1740183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de-DE" sz="1200" b="1" dirty="0">
                <a:solidFill>
                  <a:schemeClr val="tx1"/>
                </a:solidFill>
              </a:rPr>
              <a:t>SOEP Core Instrumente</a:t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dirty="0">
                <a:solidFill>
                  <a:schemeClr val="tx1"/>
                </a:solidFill>
              </a:rPr>
              <a:t>HH-Protokoll</a:t>
            </a:r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8478C859-904A-C9E7-E5E5-FD5169D90975}"/>
              </a:ext>
            </a:extLst>
          </p:cNvPr>
          <p:cNvSpPr/>
          <p:nvPr/>
        </p:nvSpPr>
        <p:spPr>
          <a:xfrm>
            <a:off x="5786376" y="3773212"/>
            <a:ext cx="1800000" cy="1740183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de-DE" sz="1200" b="1" dirty="0">
                <a:solidFill>
                  <a:schemeClr val="tx1"/>
                </a:solidFill>
              </a:rPr>
              <a:t>Fragebogen</a:t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dirty="0">
                <a:solidFill>
                  <a:schemeClr val="tx1"/>
                </a:solidFill>
              </a:rPr>
              <a:t>(u.a. PIAAC-Items)</a:t>
            </a:r>
          </a:p>
          <a:p>
            <a:r>
              <a:rPr lang="de-DE" sz="1200" dirty="0">
                <a:solidFill>
                  <a:schemeClr val="tx1"/>
                </a:solidFill>
              </a:rPr>
              <a:t>Kompetenzmessung</a:t>
            </a:r>
            <a:endParaRPr lang="de-DE" sz="11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b="1" dirty="0">
                <a:solidFill>
                  <a:schemeClr val="tx1"/>
                </a:solidFill>
              </a:rPr>
              <a:t>PIAAC</a:t>
            </a:r>
            <a:br>
              <a:rPr lang="de-DE" sz="1100" dirty="0">
                <a:solidFill>
                  <a:schemeClr val="tx1"/>
                </a:solidFill>
              </a:rPr>
            </a:br>
            <a:r>
              <a:rPr lang="de-DE" sz="1100" dirty="0">
                <a:solidFill>
                  <a:schemeClr val="tx1"/>
                </a:solidFill>
              </a:rPr>
              <a:t>Lesekompetenz &amp; Alltagsmathematische Kompetenz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100" b="1" dirty="0">
                <a:solidFill>
                  <a:schemeClr val="tx1"/>
                </a:solidFill>
              </a:rPr>
              <a:t>NEPS</a:t>
            </a:r>
            <a:br>
              <a:rPr lang="de-DE" sz="1100" b="1" dirty="0">
                <a:solidFill>
                  <a:schemeClr val="tx1"/>
                </a:solidFill>
              </a:rPr>
            </a:br>
            <a:r>
              <a:rPr lang="de-DE" sz="1100" dirty="0">
                <a:solidFill>
                  <a:schemeClr val="tx1"/>
                </a:solidFill>
              </a:rPr>
              <a:t>Lesen und Rechnen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3602A5EE-4858-7EE0-C2D9-CF37B7D7A8AA}"/>
              </a:ext>
            </a:extLst>
          </p:cNvPr>
          <p:cNvSpPr/>
          <p:nvPr/>
        </p:nvSpPr>
        <p:spPr>
          <a:xfrm>
            <a:off x="7922168" y="3773212"/>
            <a:ext cx="1800000" cy="1740183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4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lang="de-DE" sz="1200" b="1" dirty="0">
                <a:solidFill>
                  <a:schemeClr val="tx1"/>
                </a:solidFill>
              </a:rPr>
              <a:t>SOEP (verkürzt)</a:t>
            </a:r>
            <a:br>
              <a:rPr lang="de-DE" sz="1200" b="1" dirty="0">
                <a:solidFill>
                  <a:schemeClr val="tx1"/>
                </a:solidFill>
              </a:rPr>
            </a:br>
            <a:r>
              <a:rPr lang="de-DE" sz="1200" dirty="0">
                <a:solidFill>
                  <a:schemeClr val="tx1"/>
                </a:solidFill>
              </a:rPr>
              <a:t>HH-Protokoll</a:t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dirty="0">
                <a:solidFill>
                  <a:schemeClr val="tx1"/>
                </a:solidFill>
              </a:rPr>
              <a:t>HH-Fragebogen</a:t>
            </a:r>
          </a:p>
          <a:p>
            <a:pPr>
              <a:spcAft>
                <a:spcPts val="600"/>
              </a:spcAft>
            </a:pPr>
            <a:r>
              <a:rPr lang="de-DE" sz="1200" b="1" dirty="0">
                <a:solidFill>
                  <a:schemeClr val="tx1"/>
                </a:solidFill>
              </a:rPr>
              <a:t>SOEP Kognitive Kurzskalen</a:t>
            </a:r>
          </a:p>
          <a:p>
            <a:pPr>
              <a:spcAft>
                <a:spcPts val="600"/>
              </a:spcAft>
            </a:pPr>
            <a:r>
              <a:rPr lang="de-DE" sz="1200" b="1" dirty="0">
                <a:solidFill>
                  <a:schemeClr val="tx1"/>
                </a:solidFill>
              </a:rPr>
              <a:t>Zusatzstudie DIPF</a:t>
            </a:r>
            <a:br>
              <a:rPr lang="de-DE" sz="1200" b="1" dirty="0">
                <a:solidFill>
                  <a:schemeClr val="tx1"/>
                </a:solidFill>
              </a:rPr>
            </a:br>
            <a:r>
              <a:rPr lang="de-DE" sz="1200" dirty="0" err="1">
                <a:solidFill>
                  <a:schemeClr val="tx1"/>
                </a:solidFill>
              </a:rPr>
              <a:t>Number</a:t>
            </a:r>
            <a:r>
              <a:rPr lang="de-DE" sz="1200" dirty="0">
                <a:solidFill>
                  <a:schemeClr val="tx1"/>
                </a:solidFill>
              </a:rPr>
              <a:t> Series Study</a:t>
            </a:r>
            <a:endParaRPr lang="de-DE" sz="1200" b="1" dirty="0">
              <a:solidFill>
                <a:schemeClr val="tx1"/>
              </a:solidFill>
            </a:endParaRPr>
          </a:p>
        </p:txBody>
      </p:sp>
      <p:sp>
        <p:nvSpPr>
          <p:cNvPr id="41" name="Pfeil: Fünfeck 40">
            <a:extLst>
              <a:ext uri="{FF2B5EF4-FFF2-40B4-BE49-F238E27FC236}">
                <a16:creationId xmlns:a16="http://schemas.microsoft.com/office/drawing/2014/main" id="{225F8F5A-B991-A75E-7175-0DC866CBEE9D}"/>
              </a:ext>
            </a:extLst>
          </p:cNvPr>
          <p:cNvSpPr/>
          <p:nvPr/>
        </p:nvSpPr>
        <p:spPr>
          <a:xfrm>
            <a:off x="1514792" y="3773211"/>
            <a:ext cx="1596028" cy="1740183"/>
          </a:xfrm>
          <a:prstGeom prst="homePlate">
            <a:avLst>
              <a:gd name="adj" fmla="val 14346"/>
            </a:avLst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>
                <a:solidFill>
                  <a:schemeClr val="tx1"/>
                </a:solidFill>
              </a:rPr>
              <a:t>Instrumente</a:t>
            </a:r>
          </a:p>
        </p:txBody>
      </p: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9F68F362-6ABE-8A27-3BA9-C46B7EB367ED}"/>
              </a:ext>
            </a:extLst>
          </p:cNvPr>
          <p:cNvCxnSpPr/>
          <p:nvPr/>
        </p:nvCxnSpPr>
        <p:spPr>
          <a:xfrm>
            <a:off x="1500509" y="2406447"/>
            <a:ext cx="823436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113F752C-CC90-C2B6-C265-140949B63185}"/>
              </a:ext>
            </a:extLst>
          </p:cNvPr>
          <p:cNvCxnSpPr/>
          <p:nvPr/>
        </p:nvCxnSpPr>
        <p:spPr>
          <a:xfrm>
            <a:off x="1500509" y="3713293"/>
            <a:ext cx="8234364" cy="0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>
            <a:extLst>
              <a:ext uri="{FF2B5EF4-FFF2-40B4-BE49-F238E27FC236}">
                <a16:creationId xmlns:a16="http://schemas.microsoft.com/office/drawing/2014/main" id="{5638CE3B-B9CD-4293-32B2-1E5AE8268A9D}"/>
              </a:ext>
            </a:extLst>
          </p:cNvPr>
          <p:cNvCxnSpPr/>
          <p:nvPr/>
        </p:nvCxnSpPr>
        <p:spPr>
          <a:xfrm>
            <a:off x="1500509" y="5573489"/>
            <a:ext cx="8234364" cy="0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Pfeil: Chevron 44">
            <a:extLst>
              <a:ext uri="{FF2B5EF4-FFF2-40B4-BE49-F238E27FC236}">
                <a16:creationId xmlns:a16="http://schemas.microsoft.com/office/drawing/2014/main" id="{17D5BF21-AA3A-2A60-9121-1EA9BDD70134}"/>
              </a:ext>
            </a:extLst>
          </p:cNvPr>
          <p:cNvSpPr/>
          <p:nvPr/>
        </p:nvSpPr>
        <p:spPr>
          <a:xfrm>
            <a:off x="3350140" y="1848104"/>
            <a:ext cx="256978" cy="4329112"/>
          </a:xfrm>
          <a:prstGeom prst="chevron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6" name="Pfeil: Chevron 45">
            <a:extLst>
              <a:ext uri="{FF2B5EF4-FFF2-40B4-BE49-F238E27FC236}">
                <a16:creationId xmlns:a16="http://schemas.microsoft.com/office/drawing/2014/main" id="{5AC55389-95B8-BF71-2F72-9C24939593B4}"/>
              </a:ext>
            </a:extLst>
          </p:cNvPr>
          <p:cNvSpPr/>
          <p:nvPr/>
        </p:nvSpPr>
        <p:spPr>
          <a:xfrm>
            <a:off x="5486234" y="1848104"/>
            <a:ext cx="256978" cy="4329112"/>
          </a:xfrm>
          <a:prstGeom prst="chevron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7" name="Pfeil: Chevron 46">
            <a:extLst>
              <a:ext uri="{FF2B5EF4-FFF2-40B4-BE49-F238E27FC236}">
                <a16:creationId xmlns:a16="http://schemas.microsoft.com/office/drawing/2014/main" id="{FF669C34-0290-EC0A-AF10-FEA8111BF4D9}"/>
              </a:ext>
            </a:extLst>
          </p:cNvPr>
          <p:cNvSpPr/>
          <p:nvPr/>
        </p:nvSpPr>
        <p:spPr>
          <a:xfrm>
            <a:off x="7622026" y="1848104"/>
            <a:ext cx="256978" cy="4329112"/>
          </a:xfrm>
          <a:prstGeom prst="chevron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E94DC31B-600B-3CC6-AB61-9E18C94AE579}"/>
              </a:ext>
            </a:extLst>
          </p:cNvPr>
          <p:cNvSpPr txBox="1"/>
          <p:nvPr/>
        </p:nvSpPr>
        <p:spPr>
          <a:xfrm>
            <a:off x="1500508" y="6257354"/>
            <a:ext cx="823436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000" dirty="0" err="1"/>
              <a:t>Siehe</a:t>
            </a:r>
            <a:r>
              <a:rPr lang="en-US" sz="1000" dirty="0"/>
              <a:t> </a:t>
            </a:r>
            <a:r>
              <a:rPr lang="en-US" sz="1000" dirty="0" err="1"/>
              <a:t>auch</a:t>
            </a:r>
            <a:r>
              <a:rPr lang="en-US" sz="1000" dirty="0"/>
              <a:t> </a:t>
            </a:r>
            <a:r>
              <a:rPr lang="en-US" sz="1000" dirty="0">
                <a:hlinkClick r:id="rId2"/>
              </a:rPr>
              <a:t>Martin et al. 2021</a:t>
            </a:r>
            <a:r>
              <a:rPr lang="en-US" sz="1000" dirty="0"/>
              <a:t>; </a:t>
            </a:r>
            <a:r>
              <a:rPr lang="en-US" sz="1000" dirty="0">
                <a:hlinkClick r:id="rId3"/>
              </a:rPr>
              <a:t>Martin et al., 2022</a:t>
            </a:r>
            <a:endParaRPr lang="en-US" sz="1000" dirty="0"/>
          </a:p>
        </p:txBody>
      </p:sp>
      <p:sp>
        <p:nvSpPr>
          <p:cNvPr id="4" name="Foliennummernplatzhalter 1">
            <a:extLst>
              <a:ext uri="{FF2B5EF4-FFF2-40B4-BE49-F238E27FC236}">
                <a16:creationId xmlns:a16="http://schemas.microsoft.com/office/drawing/2014/main" id="{45D84638-ACAB-F9FD-0401-5804A0B64030}"/>
              </a:ext>
            </a:extLst>
          </p:cNvPr>
          <p:cNvSpPr txBox="1">
            <a:spLocks/>
          </p:cNvSpPr>
          <p:nvPr/>
        </p:nvSpPr>
        <p:spPr>
          <a:xfrm>
            <a:off x="10926476" y="6356350"/>
            <a:ext cx="625443" cy="365125"/>
          </a:xfrm>
          <a:prstGeom prst="rect">
            <a:avLst/>
          </a:prstGeom>
          <a:noFill/>
        </p:spPr>
        <p:txBody>
          <a:bodyPr vert="horz" lIns="91440" tIns="45720" rIns="91440" bIns="45720" rtlCol="0" anchor="ctr" anchorCtr="1">
            <a:norm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spcAft>
                <a:spcPts val="600"/>
              </a:spcAft>
            </a:pPr>
            <a:fld id="{5466DDEF-6F62-4E10-A7D9-534B7EFA16E6}" type="slidenum">
              <a:rPr lang="en-US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l">
                <a:spcAft>
                  <a:spcPts val="600"/>
                </a:spcAft>
              </a:pPr>
              <a:t>23</a:t>
            </a:fld>
            <a:endParaRPr lang="en-US" dirty="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52961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7D6E337-8398-4725-BA1D-340F871316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66DDEF-6F62-4E10-A7D9-534B7EFA16E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664E938A-BD4A-46D4-9520-45DEDB6068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enbestand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6BD80BA-75D4-49A9-8E46-A50D3EBA7D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03120" y="3845641"/>
            <a:ext cx="7447643" cy="1782999"/>
          </a:xfrm>
        </p:spPr>
        <p:txBody>
          <a:bodyPr>
            <a:noAutofit/>
          </a:bodyPr>
          <a:lstStyle/>
          <a:p>
            <a:r>
              <a:rPr lang="en-US" sz="3600" b="1" dirty="0" err="1">
                <a:latin typeface="+mj-lt"/>
              </a:rPr>
              <a:t>P</a:t>
            </a:r>
            <a:r>
              <a:rPr lang="en-US" sz="3600" dirty="0" err="1">
                <a:latin typeface="+mj-lt"/>
              </a:rPr>
              <a:t>rogramme</a:t>
            </a:r>
            <a:r>
              <a:rPr lang="en-US" sz="3600" dirty="0">
                <a:latin typeface="+mj-lt"/>
              </a:rPr>
              <a:t> for the </a:t>
            </a:r>
            <a:r>
              <a:rPr lang="en-US" sz="3600" b="1" dirty="0">
                <a:latin typeface="+mj-lt"/>
              </a:rPr>
              <a:t>I</a:t>
            </a:r>
            <a:r>
              <a:rPr lang="en-US" sz="3600" dirty="0">
                <a:latin typeface="+mj-lt"/>
              </a:rPr>
              <a:t>nternational </a:t>
            </a:r>
            <a:r>
              <a:rPr lang="en-US" sz="3600" b="1" dirty="0">
                <a:latin typeface="+mj-lt"/>
              </a:rPr>
              <a:t>A</a:t>
            </a:r>
            <a:r>
              <a:rPr lang="en-US" sz="3600" dirty="0">
                <a:latin typeface="+mj-lt"/>
              </a:rPr>
              <a:t>ssessment of </a:t>
            </a:r>
            <a:r>
              <a:rPr lang="en-US" sz="3600" b="1" dirty="0">
                <a:latin typeface="+mj-lt"/>
              </a:rPr>
              <a:t>A</a:t>
            </a:r>
            <a:r>
              <a:rPr lang="en-US" sz="3600" dirty="0">
                <a:latin typeface="+mj-lt"/>
              </a:rPr>
              <a:t>dult </a:t>
            </a:r>
            <a:r>
              <a:rPr lang="en-US" sz="3600" b="1" dirty="0">
                <a:latin typeface="+mj-lt"/>
              </a:rPr>
              <a:t>C</a:t>
            </a:r>
            <a:r>
              <a:rPr lang="en-US" sz="3600" dirty="0">
                <a:latin typeface="+mj-lt"/>
              </a:rPr>
              <a:t>ompetencies</a:t>
            </a:r>
          </a:p>
          <a:p>
            <a:pPr algn="ctr"/>
            <a:r>
              <a:rPr lang="en-US" sz="3600" dirty="0">
                <a:latin typeface="+mj-lt"/>
              </a:rPr>
              <a:t>- PIAAC - </a:t>
            </a:r>
          </a:p>
        </p:txBody>
      </p:sp>
      <p:sp>
        <p:nvSpPr>
          <p:cNvPr id="10" name="Multiplikationszeichen 9">
            <a:extLst>
              <a:ext uri="{FF2B5EF4-FFF2-40B4-BE49-F238E27FC236}">
                <a16:creationId xmlns:a16="http://schemas.microsoft.com/office/drawing/2014/main" id="{59434B72-C97B-C63E-6D6C-9808D3D8E16D}"/>
              </a:ext>
            </a:extLst>
          </p:cNvPr>
          <p:cNvSpPr/>
          <p:nvPr/>
        </p:nvSpPr>
        <p:spPr>
          <a:xfrm>
            <a:off x="9830985" y="2827493"/>
            <a:ext cx="232154" cy="282463"/>
          </a:xfrm>
          <a:prstGeom prst="mathMultiply">
            <a:avLst/>
          </a:prstGeom>
          <a:solidFill>
            <a:srgbClr val="009E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97841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7D6E337-8398-4725-BA1D-340F871316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66DDEF-6F62-4E10-A7D9-534B7EFA16E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664E938A-BD4A-46D4-9520-45DEDB6068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2653725"/>
            <a:ext cx="7214325" cy="630000"/>
          </a:xfrm>
        </p:spPr>
        <p:txBody>
          <a:bodyPr/>
          <a:lstStyle/>
          <a:p>
            <a:r>
              <a:rPr lang="de-DE" dirty="0"/>
              <a:t>Was ist das Besondere an diesen Daten? </a:t>
            </a:r>
          </a:p>
        </p:txBody>
      </p:sp>
      <p:pic>
        <p:nvPicPr>
          <p:cNvPr id="8" name="Grafik 7" descr="Glühbirne">
            <a:extLst>
              <a:ext uri="{FF2B5EF4-FFF2-40B4-BE49-F238E27FC236}">
                <a16:creationId xmlns:a16="http://schemas.microsoft.com/office/drawing/2014/main" id="{731F87CC-6567-4DE7-9058-5170602D2C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1640658">
            <a:off x="7536527" y="21691"/>
            <a:ext cx="1491338" cy="1491338"/>
          </a:xfrm>
          <a:prstGeom prst="rect">
            <a:avLst/>
          </a:prstGeom>
        </p:spPr>
      </p:pic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D2E9DAE-FBFD-705E-C99A-D1D3F009967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190721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5C15A60-43CE-4235-A3ED-B6813D0D5C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66DDEF-6F62-4E10-A7D9-534B7EFA16E6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4C0F66-E166-44E5-AD13-1D141EED05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1044000"/>
            <a:ext cx="7536814" cy="1283424"/>
          </a:xfrm>
        </p:spPr>
        <p:txBody>
          <a:bodyPr>
            <a:normAutofit fontScale="90000"/>
          </a:bodyPr>
          <a:lstStyle/>
          <a:p>
            <a:r>
              <a:rPr lang="en-US" b="1" dirty="0" err="1">
                <a:solidFill>
                  <a:schemeClr val="accent1"/>
                </a:solidFill>
              </a:rPr>
              <a:t>P</a:t>
            </a:r>
            <a:r>
              <a:rPr lang="en-US" dirty="0" err="1">
                <a:solidFill>
                  <a:schemeClr val="accent1"/>
                </a:solidFill>
              </a:rPr>
              <a:t>rogramme</a:t>
            </a:r>
            <a:r>
              <a:rPr lang="en-US" dirty="0">
                <a:solidFill>
                  <a:schemeClr val="accent1"/>
                </a:solidFill>
              </a:rPr>
              <a:t> for the </a:t>
            </a:r>
            <a:r>
              <a:rPr lang="en-US" b="1" dirty="0">
                <a:solidFill>
                  <a:schemeClr val="accent1"/>
                </a:solidFill>
              </a:rPr>
              <a:t>I</a:t>
            </a:r>
            <a:r>
              <a:rPr lang="en-US" dirty="0">
                <a:solidFill>
                  <a:schemeClr val="accent1"/>
                </a:solidFill>
              </a:rPr>
              <a:t>nternational </a:t>
            </a:r>
            <a:r>
              <a:rPr lang="en-US" b="1" dirty="0">
                <a:solidFill>
                  <a:schemeClr val="accent1"/>
                </a:solidFill>
              </a:rPr>
              <a:t>A</a:t>
            </a:r>
            <a:r>
              <a:rPr lang="en-US" dirty="0">
                <a:solidFill>
                  <a:schemeClr val="accent1"/>
                </a:solidFill>
              </a:rPr>
              <a:t>ssessment of </a:t>
            </a:r>
            <a:r>
              <a:rPr lang="en-US" b="1" dirty="0">
                <a:solidFill>
                  <a:schemeClr val="accent1"/>
                </a:solidFill>
              </a:rPr>
              <a:t>A</a:t>
            </a:r>
            <a:r>
              <a:rPr lang="en-US" dirty="0">
                <a:solidFill>
                  <a:schemeClr val="accent1"/>
                </a:solidFill>
              </a:rPr>
              <a:t>dult </a:t>
            </a:r>
            <a:r>
              <a:rPr lang="en-US" b="1" dirty="0">
                <a:solidFill>
                  <a:schemeClr val="accent1"/>
                </a:solidFill>
              </a:rPr>
              <a:t>C</a:t>
            </a:r>
            <a:r>
              <a:rPr lang="en-US" dirty="0">
                <a:solidFill>
                  <a:schemeClr val="accent1"/>
                </a:solidFill>
              </a:rPr>
              <a:t>ompetencies </a:t>
            </a:r>
          </a:p>
        </p:txBody>
      </p:sp>
      <p:graphicFrame>
        <p:nvGraphicFramePr>
          <p:cNvPr id="15" name="Inhaltsplatzhalter 2">
            <a:extLst>
              <a:ext uri="{FF2B5EF4-FFF2-40B4-BE49-F238E27FC236}">
                <a16:creationId xmlns:a16="http://schemas.microsoft.com/office/drawing/2014/main" id="{C9C5AF99-DFE9-C037-290D-5CAF2D26A5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70269409"/>
              </p:ext>
            </p:extLst>
          </p:nvPr>
        </p:nvGraphicFramePr>
        <p:xfrm>
          <a:off x="672000" y="2327424"/>
          <a:ext cx="8009357" cy="37446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7" name="Picture 3">
            <a:extLst>
              <a:ext uri="{FF2B5EF4-FFF2-40B4-BE49-F238E27FC236}">
                <a16:creationId xmlns:a16="http://schemas.microsoft.com/office/drawing/2014/main" id="{8DD50A5D-D276-3D3F-47C9-EACAC7B1AB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27552" y="3327063"/>
            <a:ext cx="602690" cy="812014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>
              <a:rot lat="0" lon="1200001" rev="0"/>
            </a:camera>
            <a:lightRig rig="threePt" dir="t"/>
          </a:scene3d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" name="Ellipse 2">
            <a:extLst>
              <a:ext uri="{FF2B5EF4-FFF2-40B4-BE49-F238E27FC236}">
                <a16:creationId xmlns:a16="http://schemas.microsoft.com/office/drawing/2014/main" id="{36737C68-7290-7B44-C68C-47935B2C0C58}"/>
              </a:ext>
            </a:extLst>
          </p:cNvPr>
          <p:cNvSpPr/>
          <p:nvPr/>
        </p:nvSpPr>
        <p:spPr>
          <a:xfrm>
            <a:off x="8547748" y="3607137"/>
            <a:ext cx="3492527" cy="325086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2016DA7-0AB8-BAA4-B135-1391506DAA9D}"/>
              </a:ext>
            </a:extLst>
          </p:cNvPr>
          <p:cNvPicPr>
            <a:picLocks noChangeAspect="1"/>
          </p:cNvPicPr>
          <p:nvPr/>
        </p:nvPicPr>
        <p:blipFill>
          <a:blip r:embed="rId9">
            <a:grayscl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contrast="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933721" y="4252992"/>
            <a:ext cx="2781887" cy="17762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934154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7D6E337-8398-4725-BA1D-340F871316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66DDEF-6F62-4E10-A7D9-534B7EFA16E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664E938A-BD4A-46D4-9520-45DEDB6068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2653725"/>
            <a:ext cx="7214325" cy="630000"/>
          </a:xfrm>
        </p:spPr>
        <p:txBody>
          <a:bodyPr/>
          <a:lstStyle/>
          <a:p>
            <a:r>
              <a:rPr lang="de-DE" dirty="0"/>
              <a:t>Was können mir die Daten verraten? </a:t>
            </a:r>
          </a:p>
        </p:txBody>
      </p:sp>
      <p:pic>
        <p:nvPicPr>
          <p:cNvPr id="8" name="Grafik 7" descr="Glühbirne">
            <a:extLst>
              <a:ext uri="{FF2B5EF4-FFF2-40B4-BE49-F238E27FC236}">
                <a16:creationId xmlns:a16="http://schemas.microsoft.com/office/drawing/2014/main" id="{731F87CC-6567-4DE7-9058-5170602D2CE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1640658">
            <a:off x="7536527" y="21691"/>
            <a:ext cx="1491338" cy="149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25504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5C15A60-43CE-4235-A3ED-B6813D0D5C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66DDEF-6F62-4E10-A7D9-534B7EFA16E6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4C0F66-E166-44E5-AD13-1D141EED0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IAAC Inhalte 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8CABBE59-5D21-F446-C4C2-2ACB6C41E8EC}"/>
              </a:ext>
            </a:extLst>
          </p:cNvPr>
          <p:cNvSpPr txBox="1">
            <a:spLocks/>
          </p:cNvSpPr>
          <p:nvPr/>
        </p:nvSpPr>
        <p:spPr>
          <a:xfrm>
            <a:off x="756256" y="5164239"/>
            <a:ext cx="8951959" cy="1061357"/>
          </a:xfrm>
          <a:prstGeom prst="rect">
            <a:avLst/>
          </a:prstGeom>
        </p:spPr>
        <p:txBody>
          <a:bodyPr>
            <a:noAutofit/>
          </a:bodyPr>
          <a:lstStyle>
            <a:lvl1pPr marL="396000" indent="-36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9ED4"/>
              </a:buClr>
              <a:buFont typeface="Wingdings" panose="05000000000000000000" pitchFamily="2" charset="2"/>
              <a:buChar char="§"/>
              <a:defRPr sz="3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738000" indent="-30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9ED4"/>
              </a:buClr>
              <a:buFont typeface="Wingdings" panose="05000000000000000000" pitchFamily="2" charset="2"/>
              <a:buChar char="§"/>
              <a:defRPr lang="de-DE" sz="3200" kern="1200" dirty="0" smtClean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00" indent="0">
              <a:lnSpc>
                <a:spcPct val="100000"/>
              </a:lnSpc>
              <a:buNone/>
            </a:pPr>
            <a:r>
              <a:rPr lang="de-DE" sz="1600" strike="noStrike" spc="-1" dirty="0"/>
              <a:t>Forschungsfragen zu Themen wie: </a:t>
            </a:r>
            <a:r>
              <a:rPr lang="de-DE" sz="1600" b="0" strike="noStrike" spc="-1" dirty="0"/>
              <a:t>Determinanten kognitiver Kompetenzen, digitale Kompetenzen, kognitive Kompetenzen in verschiedenen Bevölkerungsgruppen (Alterskohorten, Gender, Migration), kognitive Kompetenzen und Arbeitsmarkt, kognitive Kompetenzen und Persönlichkeit</a:t>
            </a: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2C4D4B6E-F7D5-15D2-F337-5768729ED5FE}"/>
              </a:ext>
            </a:extLst>
          </p:cNvPr>
          <p:cNvCxnSpPr>
            <a:cxnSpLocks/>
          </p:cNvCxnSpPr>
          <p:nvPr/>
        </p:nvCxnSpPr>
        <p:spPr>
          <a:xfrm>
            <a:off x="720000" y="4897914"/>
            <a:ext cx="8951959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Gleichschenkliges Dreieck 6">
            <a:extLst>
              <a:ext uri="{FF2B5EF4-FFF2-40B4-BE49-F238E27FC236}">
                <a16:creationId xmlns:a16="http://schemas.microsoft.com/office/drawing/2014/main" id="{20289166-513F-DEE9-D868-B0903713D303}"/>
              </a:ext>
            </a:extLst>
          </p:cNvPr>
          <p:cNvSpPr/>
          <p:nvPr/>
        </p:nvSpPr>
        <p:spPr>
          <a:xfrm rot="10800000">
            <a:off x="4913021" y="4811444"/>
            <a:ext cx="819643" cy="352795"/>
          </a:xfrm>
          <a:prstGeom prst="triangl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19023FF-82C2-5A6A-9446-0E580081B027}"/>
              </a:ext>
            </a:extLst>
          </p:cNvPr>
          <p:cNvSpPr txBox="1"/>
          <p:nvPr/>
        </p:nvSpPr>
        <p:spPr>
          <a:xfrm>
            <a:off x="3937173" y="1976345"/>
            <a:ext cx="2738683" cy="2031327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 anchor="t">
            <a:noAutofit/>
          </a:bodyPr>
          <a:lstStyle/>
          <a:p>
            <a:pPr algn="ctr"/>
            <a:r>
              <a:rPr lang="de-DE" sz="1600" b="1" dirty="0">
                <a:solidFill>
                  <a:schemeClr val="bg1"/>
                </a:solidFill>
              </a:rPr>
              <a:t>Alltagsmathematische Kompetenz</a:t>
            </a:r>
          </a:p>
          <a:p>
            <a:pPr algn="ctr"/>
            <a:r>
              <a:rPr lang="de-DE" sz="1600" dirty="0">
                <a:solidFill>
                  <a:schemeClr val="bg1"/>
                </a:solidFill>
              </a:rPr>
              <a:t>Fähigkeit, mathematische Informationen abzurufen, zu verwenden, zu interpretieren und weiterzugeben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6F653E7-6AE4-8339-6561-B8EE2E3E480C}"/>
              </a:ext>
            </a:extLst>
          </p:cNvPr>
          <p:cNvSpPr txBox="1"/>
          <p:nvPr/>
        </p:nvSpPr>
        <p:spPr>
          <a:xfrm>
            <a:off x="703670" y="1983427"/>
            <a:ext cx="2738683" cy="2031327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 anchor="t">
            <a:noAutofit/>
          </a:bodyPr>
          <a:lstStyle/>
          <a:p>
            <a:pPr algn="ctr"/>
            <a:r>
              <a:rPr lang="de-DE" sz="1600" b="1" dirty="0">
                <a:solidFill>
                  <a:schemeClr val="bg1"/>
                </a:solidFill>
              </a:rPr>
              <a:t>Lesekompetenz</a:t>
            </a:r>
          </a:p>
          <a:p>
            <a:pPr algn="ctr"/>
            <a:endParaRPr lang="de-DE" sz="1600" dirty="0">
              <a:solidFill>
                <a:schemeClr val="bg1"/>
              </a:solidFill>
            </a:endParaRPr>
          </a:p>
          <a:p>
            <a:pPr algn="ctr"/>
            <a:r>
              <a:rPr lang="de-DE" sz="1600" dirty="0">
                <a:solidFill>
                  <a:schemeClr val="bg1"/>
                </a:solidFill>
              </a:rPr>
              <a:t>Fähigkeit, Informationen aus schriftlichen Texten zu verstehen, zu nutzen und zu interpretieren. 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86DD109E-411D-8A55-4DDC-734B5D5FB0CE}"/>
              </a:ext>
            </a:extLst>
          </p:cNvPr>
          <p:cNvSpPr txBox="1"/>
          <p:nvPr/>
        </p:nvSpPr>
        <p:spPr>
          <a:xfrm>
            <a:off x="6969532" y="1983426"/>
            <a:ext cx="2738683" cy="2038843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lIns="72000" tIns="72000" rIns="72000" bIns="72000" rtlCol="0" anchor="t">
            <a:noAutofit/>
          </a:bodyPr>
          <a:lstStyle/>
          <a:p>
            <a:pPr algn="ctr"/>
            <a:r>
              <a:rPr lang="de-DE" sz="1600" b="1" dirty="0">
                <a:solidFill>
                  <a:schemeClr val="bg1"/>
                </a:solidFill>
              </a:rPr>
              <a:t>Adaptives Problemlösen</a:t>
            </a:r>
          </a:p>
          <a:p>
            <a:pPr algn="ctr"/>
            <a:r>
              <a:rPr lang="de-DE" sz="1600" dirty="0">
                <a:solidFill>
                  <a:schemeClr val="bg1"/>
                </a:solidFill>
              </a:rPr>
              <a:t>(Zyklus II)</a:t>
            </a:r>
          </a:p>
          <a:p>
            <a:pPr algn="ctr"/>
            <a:r>
              <a:rPr lang="de-DE" sz="1600" dirty="0">
                <a:solidFill>
                  <a:schemeClr val="bg1"/>
                </a:solidFill>
              </a:rPr>
              <a:t>Fähigkeit, eigene Ziele in einer dynamischen Situation zu erreichen, bei der die  Methode zum Erreichen der Lösung nicht unmittelbar verfügbar ist.</a:t>
            </a:r>
          </a:p>
        </p:txBody>
      </p:sp>
      <p:pic>
        <p:nvPicPr>
          <p:cNvPr id="17" name="Picture 4">
            <a:extLst>
              <a:ext uri="{FF2B5EF4-FFF2-40B4-BE49-F238E27FC236}">
                <a16:creationId xmlns:a16="http://schemas.microsoft.com/office/drawing/2014/main" id="{31C1FF9E-E9F3-93F6-54B6-95D246DEBC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20811299">
            <a:off x="10722427" y="5566090"/>
            <a:ext cx="1043598" cy="748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8" name="Ellipse 17">
            <a:extLst>
              <a:ext uri="{FF2B5EF4-FFF2-40B4-BE49-F238E27FC236}">
                <a16:creationId xmlns:a16="http://schemas.microsoft.com/office/drawing/2014/main" id="{11787A1B-3FEB-879E-BB68-5B9F492DF0C2}"/>
              </a:ext>
            </a:extLst>
          </p:cNvPr>
          <p:cNvSpPr/>
          <p:nvPr/>
        </p:nvSpPr>
        <p:spPr>
          <a:xfrm>
            <a:off x="9655630" y="3346715"/>
            <a:ext cx="2230118" cy="229752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D07FFCD-BEB0-F134-0AD9-6AA9128DFF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81054" y="3725717"/>
            <a:ext cx="1231854" cy="15395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02022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07D6E337-8398-4725-BA1D-340F871316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66DDEF-6F62-4E10-A7D9-534B7EFA16E6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664E938A-BD4A-46D4-9520-45DEDB6068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0" y="2653725"/>
            <a:ext cx="7433400" cy="630000"/>
          </a:xfrm>
        </p:spPr>
        <p:txBody>
          <a:bodyPr/>
          <a:lstStyle/>
          <a:p>
            <a:r>
              <a:rPr lang="de-DE" dirty="0"/>
              <a:t>Was haben Forschende mit diesen Daten schon herausgefunden?</a:t>
            </a:r>
          </a:p>
        </p:txBody>
      </p:sp>
    </p:spTree>
    <p:extLst>
      <p:ext uri="{BB962C8B-B14F-4D97-AF65-F5344CB8AC3E}">
        <p14:creationId xmlns:p14="http://schemas.microsoft.com/office/powerpoint/2010/main" val="1202285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5C15A60-43CE-4235-A3ED-B6813D0D5C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66DDEF-6F62-4E10-A7D9-534B7EFA16E6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94C0F66-E166-44E5-AD13-1D141EED05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IAAC Ergebnisse</a:t>
            </a:r>
          </a:p>
        </p:txBody>
      </p:sp>
      <p:sp>
        <p:nvSpPr>
          <p:cNvPr id="13" name="Inhaltsplatzhalter 2">
            <a:extLst>
              <a:ext uri="{FF2B5EF4-FFF2-40B4-BE49-F238E27FC236}">
                <a16:creationId xmlns:a16="http://schemas.microsoft.com/office/drawing/2014/main" id="{8CABBE59-5D21-F446-C4C2-2ACB6C41E8EC}"/>
              </a:ext>
            </a:extLst>
          </p:cNvPr>
          <p:cNvSpPr txBox="1">
            <a:spLocks/>
          </p:cNvSpPr>
          <p:nvPr/>
        </p:nvSpPr>
        <p:spPr>
          <a:xfrm>
            <a:off x="720000" y="2008416"/>
            <a:ext cx="6083572" cy="1877784"/>
          </a:xfrm>
          <a:prstGeom prst="rect">
            <a:avLst/>
          </a:prstGeom>
        </p:spPr>
        <p:txBody>
          <a:bodyPr>
            <a:noAutofit/>
          </a:bodyPr>
          <a:lstStyle>
            <a:lvl1pPr marL="396000" indent="-36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9ED4"/>
              </a:buClr>
              <a:buFont typeface="Wingdings" panose="05000000000000000000" pitchFamily="2" charset="2"/>
              <a:buChar char="§"/>
              <a:defRPr sz="36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738000" indent="-30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9ED4"/>
              </a:buClr>
              <a:buFont typeface="Wingdings" panose="05000000000000000000" pitchFamily="2" charset="2"/>
              <a:buChar char="§"/>
              <a:defRPr lang="de-DE" sz="3200" kern="1200" dirty="0" smtClean="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  <a:lvl3pPr marL="1143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bg1">
                  <a:lumMod val="50000"/>
                </a:schemeClr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20000"/>
              </a:lnSpc>
              <a:defRPr/>
            </a:pPr>
            <a:r>
              <a:rPr lang="de-DE" sz="1600" dirty="0">
                <a:solidFill>
                  <a:srgbClr val="000000"/>
                </a:solidFill>
              </a:rPr>
              <a:t>OECD Bericht Skills Matter (</a:t>
            </a:r>
            <a:r>
              <a:rPr lang="de-DE" sz="1600" dirty="0">
                <a:solidFill>
                  <a:srgbClr val="000000"/>
                </a:solidFill>
                <a:hlinkClick r:id="rId3"/>
              </a:rPr>
              <a:t>OECD, 2019</a:t>
            </a:r>
            <a:r>
              <a:rPr lang="de-DE" sz="1600" dirty="0">
                <a:solidFill>
                  <a:srgbClr val="000000"/>
                </a:solidFill>
              </a:rPr>
              <a:t>) </a:t>
            </a:r>
          </a:p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>
                <a:srgbClr val="009ED4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IAAC Bibliographie (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hlinkClick r:id="rId4"/>
              </a:rPr>
              <a:t>Maehler et al., 2023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)</a:t>
            </a:r>
          </a:p>
          <a:p>
            <a:pPr marL="342900" indent="-342900">
              <a:lnSpc>
                <a:spcPct val="120000"/>
              </a:lnSpc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Beispiele aus der Forschungspraxis: “PIAAC (-L) in Applied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conomic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Research – A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iterature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Overview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” (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  <a:hlinkClick r:id="rId5"/>
              </a:rPr>
              <a:t>Videos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)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1CD18161-32C5-D061-21F6-E75BEE1729B4}"/>
              </a:ext>
            </a:extLst>
          </p:cNvPr>
          <p:cNvGrpSpPr/>
          <p:nvPr/>
        </p:nvGrpSpPr>
        <p:grpSpPr>
          <a:xfrm>
            <a:off x="703671" y="4196622"/>
            <a:ext cx="10595700" cy="2179205"/>
            <a:chOff x="703671" y="4196622"/>
            <a:chExt cx="10595700" cy="2179205"/>
          </a:xfrm>
        </p:grpSpPr>
        <p:sp>
          <p:nvSpPr>
            <p:cNvPr id="3" name="Inhaltsplatzhalter 2">
              <a:extLst>
                <a:ext uri="{FF2B5EF4-FFF2-40B4-BE49-F238E27FC236}">
                  <a16:creationId xmlns:a16="http://schemas.microsoft.com/office/drawing/2014/main" id="{071009D3-83DE-E8E0-A54A-1A952A91A8CA}"/>
                </a:ext>
              </a:extLst>
            </p:cNvPr>
            <p:cNvSpPr txBox="1">
              <a:spLocks/>
            </p:cNvSpPr>
            <p:nvPr/>
          </p:nvSpPr>
          <p:spPr>
            <a:xfrm>
              <a:off x="720000" y="4651852"/>
              <a:ext cx="10394314" cy="1723975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396000" indent="-36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009ED4"/>
                </a:buClr>
                <a:buFont typeface="Wingdings" panose="05000000000000000000" pitchFamily="2" charset="2"/>
                <a:buChar char="§"/>
                <a:defRPr sz="3600" kern="1200">
                  <a:solidFill>
                    <a:schemeClr val="tx1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1pPr>
              <a:lvl2pPr marL="738000" indent="-306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rgbClr val="009ED4"/>
                </a:buClr>
                <a:buFont typeface="Wingdings" panose="05000000000000000000" pitchFamily="2" charset="2"/>
                <a:buChar char="§"/>
                <a:defRPr lang="de-DE" sz="3200" kern="1200" dirty="0" smtClean="0">
                  <a:solidFill>
                    <a:schemeClr val="tx1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2pPr>
              <a:lvl3pPr marL="1143000" indent="-252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Font typeface="Wingdings" panose="05000000000000000000" pitchFamily="2" charset="2"/>
                <a:buChar char="§"/>
                <a:defRPr sz="2800" kern="1200">
                  <a:solidFill>
                    <a:schemeClr val="tx1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3pPr>
              <a:lvl4pPr marL="1600200" indent="-2286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>
                  <a:schemeClr val="bg1">
                    <a:lumMod val="50000"/>
                  </a:schemeClr>
                </a:buClr>
                <a:buFont typeface="Wingdings" panose="05000000000000000000" pitchFamily="2" charset="2"/>
                <a:buChar char="§"/>
                <a:defRPr sz="2400" kern="1200">
                  <a:solidFill>
                    <a:schemeClr val="tx1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Segoe UI" panose="020B0502040204020203" pitchFamily="34" charset="0"/>
                  <a:ea typeface="+mn-ea"/>
                  <a:cs typeface="Segoe UI" panose="020B0502040204020203" pitchFamily="34" charset="0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Font typeface="Symbol" panose="05050102010706020507" pitchFamily="18" charset="2"/>
                <a:buChar char="-"/>
              </a:pPr>
              <a:r>
                <a:rPr lang="de-DE" sz="1600" strike="noStrike" spc="-1" dirty="0"/>
                <a:t>Bildung der Eltern wirkt auf </a:t>
              </a:r>
              <a:r>
                <a:rPr lang="de-DE" sz="1600" strike="noStrike" spc="-1" dirty="0" err="1"/>
                <a:t>kog</a:t>
              </a:r>
              <a:r>
                <a:rPr lang="de-DE" sz="1600" strike="noStrike" spc="-1" dirty="0"/>
                <a:t>. Kompetenzen bis ins Erwachsenenalter (OECD, 2019)</a:t>
              </a:r>
            </a:p>
            <a:p>
              <a:pPr>
                <a:buFont typeface="Symbol" panose="05050102010706020507" pitchFamily="18" charset="2"/>
                <a:buChar char="-"/>
              </a:pPr>
              <a:r>
                <a:rPr lang="de-DE" sz="1600" strike="noStrike" spc="-1" dirty="0"/>
                <a:t>Kog. Kompetenzen von Lehrkräften wirken auf Leistung der Schüler (</a:t>
              </a:r>
              <a:r>
                <a:rPr lang="de-DE" sz="1600" strike="noStrike" spc="-1" dirty="0" err="1"/>
                <a:t>Hanushek</a:t>
              </a:r>
              <a:r>
                <a:rPr lang="de-DE" sz="1600" strike="noStrike" spc="-1" dirty="0"/>
                <a:t> et al., 2019)</a:t>
              </a:r>
            </a:p>
            <a:p>
              <a:pPr>
                <a:buFont typeface="Symbol" panose="05050102010706020507" pitchFamily="18" charset="2"/>
                <a:buChar char="-"/>
              </a:pPr>
              <a:r>
                <a:rPr lang="de-DE" sz="1600" strike="noStrike" spc="-1" dirty="0"/>
                <a:t>Kog. Kompetenzen gehen mit höheren Einkommen einher (OECD, 2019)</a:t>
              </a:r>
            </a:p>
            <a:p>
              <a:pPr>
                <a:buFont typeface="Symbol" panose="05050102010706020507" pitchFamily="18" charset="2"/>
                <a:buChar char="-"/>
              </a:pPr>
              <a:r>
                <a:rPr lang="de-DE" sz="1600" strike="noStrike" spc="-1" dirty="0"/>
                <a:t>Erwachsene mit höheren </a:t>
              </a:r>
              <a:r>
                <a:rPr lang="de-DE" sz="1600" strike="noStrike" spc="-1" dirty="0" err="1"/>
                <a:t>kog</a:t>
              </a:r>
              <a:r>
                <a:rPr lang="de-DE" sz="1600" strike="noStrike" spc="-1" dirty="0"/>
                <a:t>. Kompetenzen besuchen häufiger Weiterbildung, aber kein Zuwachs an Kenntnissen (Gauly &amp; Lechner, 2019)</a:t>
              </a:r>
            </a:p>
          </p:txBody>
        </p:sp>
        <p:sp>
          <p:nvSpPr>
            <p:cNvPr id="7" name="Gleichschenkliges Dreieck 6">
              <a:extLst>
                <a:ext uri="{FF2B5EF4-FFF2-40B4-BE49-F238E27FC236}">
                  <a16:creationId xmlns:a16="http://schemas.microsoft.com/office/drawing/2014/main" id="{8DB94AFD-E165-102A-37D6-3A6F8CF6C807}"/>
                </a:ext>
              </a:extLst>
            </p:cNvPr>
            <p:cNvSpPr/>
            <p:nvPr/>
          </p:nvSpPr>
          <p:spPr>
            <a:xfrm rot="10800000">
              <a:off x="5591700" y="4196622"/>
              <a:ext cx="819643" cy="352795"/>
            </a:xfrm>
            <a:prstGeom prst="triangle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6" name="Gerader Verbinder 5">
              <a:extLst>
                <a:ext uri="{FF2B5EF4-FFF2-40B4-BE49-F238E27FC236}">
                  <a16:creationId xmlns:a16="http://schemas.microsoft.com/office/drawing/2014/main" id="{F8D70C19-533A-069F-9C5A-8E464FDDCE3F}"/>
                </a:ext>
              </a:extLst>
            </p:cNvPr>
            <p:cNvCxnSpPr>
              <a:cxnSpLocks/>
            </p:cNvCxnSpPr>
            <p:nvPr/>
          </p:nvCxnSpPr>
          <p:spPr>
            <a:xfrm>
              <a:off x="703671" y="4373019"/>
              <a:ext cx="10595700" cy="0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50F9C4EC-6ED8-FF08-31DD-0A1D68C55092}"/>
              </a:ext>
            </a:extLst>
          </p:cNvPr>
          <p:cNvGrpSpPr/>
          <p:nvPr/>
        </p:nvGrpSpPr>
        <p:grpSpPr>
          <a:xfrm>
            <a:off x="6724504" y="529650"/>
            <a:ext cx="5372100" cy="5089071"/>
            <a:chOff x="6724504" y="529650"/>
            <a:chExt cx="5372100" cy="5089071"/>
          </a:xfrm>
        </p:grpSpPr>
        <p:grpSp>
          <p:nvGrpSpPr>
            <p:cNvPr id="11" name="Gruppieren 10">
              <a:extLst>
                <a:ext uri="{FF2B5EF4-FFF2-40B4-BE49-F238E27FC236}">
                  <a16:creationId xmlns:a16="http://schemas.microsoft.com/office/drawing/2014/main" id="{61CE9786-1A64-855A-8C57-D0857E130DDC}"/>
                </a:ext>
              </a:extLst>
            </p:cNvPr>
            <p:cNvGrpSpPr/>
            <p:nvPr/>
          </p:nvGrpSpPr>
          <p:grpSpPr>
            <a:xfrm>
              <a:off x="6724504" y="529650"/>
              <a:ext cx="5372100" cy="5089071"/>
              <a:chOff x="6724504" y="529650"/>
              <a:chExt cx="5372100" cy="5089071"/>
            </a:xfrm>
          </p:grpSpPr>
          <p:sp>
            <p:nvSpPr>
              <p:cNvPr id="15" name="Ellipse 14">
                <a:extLst>
                  <a:ext uri="{FF2B5EF4-FFF2-40B4-BE49-F238E27FC236}">
                    <a16:creationId xmlns:a16="http://schemas.microsoft.com/office/drawing/2014/main" id="{20D83AA8-7388-5796-B1DD-C1961262FC9D}"/>
                  </a:ext>
                </a:extLst>
              </p:cNvPr>
              <p:cNvSpPr/>
              <p:nvPr/>
            </p:nvSpPr>
            <p:spPr>
              <a:xfrm>
                <a:off x="6724504" y="529650"/>
                <a:ext cx="5372100" cy="5089071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grpSp>
            <p:nvGrpSpPr>
              <p:cNvPr id="8" name="Gruppieren 7">
                <a:extLst>
                  <a:ext uri="{FF2B5EF4-FFF2-40B4-BE49-F238E27FC236}">
                    <a16:creationId xmlns:a16="http://schemas.microsoft.com/office/drawing/2014/main" id="{F2A515BF-0570-2183-5BE2-352E82F5589B}"/>
                  </a:ext>
                </a:extLst>
              </p:cNvPr>
              <p:cNvGrpSpPr/>
              <p:nvPr/>
            </p:nvGrpSpPr>
            <p:grpSpPr>
              <a:xfrm>
                <a:off x="7652657" y="1133991"/>
                <a:ext cx="3532414" cy="3544992"/>
                <a:chOff x="7158852" y="3574276"/>
                <a:chExt cx="2620279" cy="2686615"/>
              </a:xfrm>
            </p:grpSpPr>
            <p:pic>
              <p:nvPicPr>
                <p:cNvPr id="9" name="Grafik 8">
                  <a:extLst>
                    <a:ext uri="{FF2B5EF4-FFF2-40B4-BE49-F238E27FC236}">
                      <a16:creationId xmlns:a16="http://schemas.microsoft.com/office/drawing/2014/main" id="{8F802B5B-0C55-48D5-211D-0044072BE00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">
                  <a:grayscl/>
                  <a:alphaModFix/>
                  <a:extLst>
                    <a:ext uri="{BEBA8EAE-BF5A-486C-A8C5-ECC9F3942E4B}">
                      <a14:imgProps xmlns:a14="http://schemas.microsoft.com/office/drawing/2010/main">
                        <a14:imgLayer r:embed="rId7">
                          <a14:imgEffect>
                            <a14:saturation sat="300000"/>
                          </a14:imgEffect>
                        </a14:imgLayer>
                      </a14:imgProps>
                    </a:ext>
                  </a:extLst>
                </a:blip>
                <a:srcRect l="-1" t="1205" r="438" b="-17"/>
                <a:stretch/>
              </p:blipFill>
              <p:spPr>
                <a:xfrm>
                  <a:off x="7158852" y="3574276"/>
                  <a:ext cx="2620279" cy="2686615"/>
                </a:xfrm>
                <a:prstGeom prst="rect">
                  <a:avLst/>
                </a:prstGeom>
                <a:ln>
                  <a:noFill/>
                </a:ln>
                <a:effectLst>
                  <a:outerShdw blurRad="292100" dist="139700" dir="2700000" algn="tl" rotWithShape="0">
                    <a:srgbClr val="333333">
                      <a:alpha val="65000"/>
                    </a:srgbClr>
                  </a:outerShdw>
                </a:effectLst>
              </p:spPr>
            </p:pic>
            <p:sp>
              <p:nvSpPr>
                <p:cNvPr id="10" name="Rechteck: abgerundete Ecken 9">
                  <a:extLst>
                    <a:ext uri="{FF2B5EF4-FFF2-40B4-BE49-F238E27FC236}">
                      <a16:creationId xmlns:a16="http://schemas.microsoft.com/office/drawing/2014/main" id="{6DFF6A93-3CCD-6F19-71A8-5BDA18488448}"/>
                    </a:ext>
                  </a:extLst>
                </p:cNvPr>
                <p:cNvSpPr/>
                <p:nvPr/>
              </p:nvSpPr>
              <p:spPr>
                <a:xfrm>
                  <a:off x="7537878" y="4766251"/>
                  <a:ext cx="1601384" cy="99493"/>
                </a:xfrm>
                <a:prstGeom prst="round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C3135716-3CB2-656A-090B-5DBC5D8D9D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143274" y="3127318"/>
                <a:ext cx="602690" cy="81201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blipFill dpi="0" rotWithShape="0">
                      <a:blip/>
                      <a:srcRect/>
                      <a:stretch>
                        <a:fillRect/>
                      </a:stretch>
                    </a:blipFill>
                  </a14:hiddenFill>
                </a:ext>
                <a:ext uri="{91240B29-F687-4F45-9708-019B960494DF}">
                  <a14:hiddenLine xmlns:a14="http://schemas.microsoft.com/office/drawing/2010/main" w="9525" cap="flat">
                    <a:solidFill>
                      <a:srgbClr val="3465A4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14" name="Rechteck: abgerundete Ecken 13">
              <a:extLst>
                <a:ext uri="{FF2B5EF4-FFF2-40B4-BE49-F238E27FC236}">
                  <a16:creationId xmlns:a16="http://schemas.microsoft.com/office/drawing/2014/main" id="{895C2C69-E1B2-6C27-32F2-16CD08DC9469}"/>
                </a:ext>
              </a:extLst>
            </p:cNvPr>
            <p:cNvSpPr/>
            <p:nvPr/>
          </p:nvSpPr>
          <p:spPr>
            <a:xfrm>
              <a:off x="7647214" y="2726871"/>
              <a:ext cx="3543300" cy="76176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713719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0tolw1Zn0ag8Cs9RX0z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0tolw1Zn0ag8Cs9RX0z2w"/>
</p:tagLst>
</file>

<file path=ppt/theme/theme1.xml><?xml version="1.0" encoding="utf-8"?>
<a:theme xmlns:a="http://schemas.openxmlformats.org/drawingml/2006/main" name="Office">
  <a:themeElements>
    <a:clrScheme name="KonsortSWD">
      <a:dk1>
        <a:srgbClr val="000000"/>
      </a:dk1>
      <a:lt1>
        <a:srgbClr val="FFFFFF"/>
      </a:lt1>
      <a:dk2>
        <a:srgbClr val="494C5D"/>
      </a:dk2>
      <a:lt2>
        <a:srgbClr val="FFFFFF"/>
      </a:lt2>
      <a:accent1>
        <a:srgbClr val="009ED4"/>
      </a:accent1>
      <a:accent2>
        <a:srgbClr val="E73331"/>
      </a:accent2>
      <a:accent3>
        <a:srgbClr val="90BA1E"/>
      </a:accent3>
      <a:accent4>
        <a:srgbClr val="D4EDF9"/>
      </a:accent4>
      <a:accent5>
        <a:srgbClr val="FCDDD3"/>
      </a:accent5>
      <a:accent6>
        <a:srgbClr val="ECF3DA"/>
      </a:accent6>
      <a:hlink>
        <a:srgbClr val="7F7F7F"/>
      </a:hlink>
      <a:folHlink>
        <a:srgbClr val="7F7F7F"/>
      </a:folHlink>
    </a:clrScheme>
    <a:fontScheme name="KonsortSWD">
      <a:majorFont>
        <a:latin typeface="Georgia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orlage_KonsortSWD_ppt.potx" id="{6034871B-D7C9-4303-8AF2-628EB576E571}" vid="{36EC5EC2-68E6-4ADF-B425-D2328F4149B4}"/>
    </a:ext>
  </a:extLst>
</a:theme>
</file>

<file path=ppt/theme/theme2.xml><?xml version="1.0" encoding="utf-8"?>
<a:theme xmlns:a="http://schemas.openxmlformats.org/drawingml/2006/main" name="1_Office">
  <a:themeElements>
    <a:clrScheme name="KonsortSWD">
      <a:dk1>
        <a:srgbClr val="000000"/>
      </a:dk1>
      <a:lt1>
        <a:srgbClr val="FFFFFF"/>
      </a:lt1>
      <a:dk2>
        <a:srgbClr val="494D5C"/>
      </a:dk2>
      <a:lt2>
        <a:srgbClr val="FFFFFF"/>
      </a:lt2>
      <a:accent1>
        <a:srgbClr val="009ED4"/>
      </a:accent1>
      <a:accent2>
        <a:srgbClr val="E73331"/>
      </a:accent2>
      <a:accent3>
        <a:srgbClr val="008951"/>
      </a:accent3>
      <a:accent4>
        <a:srgbClr val="D4EDF9"/>
      </a:accent4>
      <a:accent5>
        <a:srgbClr val="FCDDD3"/>
      </a:accent5>
      <a:accent6>
        <a:srgbClr val="DAE4DC"/>
      </a:accent6>
      <a:hlink>
        <a:srgbClr val="7F7F7F"/>
      </a:hlink>
      <a:folHlink>
        <a:srgbClr val="7F7F7F"/>
      </a:folHlink>
    </a:clrScheme>
    <a:fontScheme name="KonsortSWD">
      <a:majorFont>
        <a:latin typeface="Georgia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orlage_KonsortSWD_ppt.potx" id="{6034871B-D7C9-4303-8AF2-628EB576E571}" vid="{1D91E78D-FA1E-4BC4-96DB-0C1EA0CD5E32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orlage_KonsortSWD_ppt</Template>
  <TotalTime>0</TotalTime>
  <Words>1468</Words>
  <Application>Microsoft Office PowerPoint</Application>
  <PresentationFormat>Breitbild</PresentationFormat>
  <Paragraphs>171</Paragraphs>
  <Slides>23</Slides>
  <Notes>1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23</vt:i4>
      </vt:variant>
    </vt:vector>
  </HeadingPairs>
  <TitlesOfParts>
    <vt:vector size="33" baseType="lpstr">
      <vt:lpstr>Arial</vt:lpstr>
      <vt:lpstr>Calibri</vt:lpstr>
      <vt:lpstr>Georgia</vt:lpstr>
      <vt:lpstr>Segoe UI</vt:lpstr>
      <vt:lpstr>Segoe UI Semibold</vt:lpstr>
      <vt:lpstr>Source Sans Pro</vt:lpstr>
      <vt:lpstr>Symbol</vt:lpstr>
      <vt:lpstr>Wingdings</vt:lpstr>
      <vt:lpstr>Office</vt:lpstr>
      <vt:lpstr>1_Office</vt:lpstr>
      <vt:lpstr>PowerPoint-Präsentation</vt:lpstr>
      <vt:lpstr>PIAAC </vt:lpstr>
      <vt:lpstr>Datenbestand</vt:lpstr>
      <vt:lpstr>Was ist das Besondere an diesen Daten? </vt:lpstr>
      <vt:lpstr>Programme for the International Assessment of Adult Competencies </vt:lpstr>
      <vt:lpstr>Was können mir die Daten verraten? </vt:lpstr>
      <vt:lpstr>PIAAC Inhalte </vt:lpstr>
      <vt:lpstr>Was haben Forschende mit diesen Daten schon herausgefunden?</vt:lpstr>
      <vt:lpstr>PIAAC Ergebnisse</vt:lpstr>
      <vt:lpstr>Datenzugang &amp; Datennutzung </vt:lpstr>
      <vt:lpstr>PowerPoint-Präsentation</vt:lpstr>
      <vt:lpstr>Ausblick: Was gibt es noch?</vt:lpstr>
      <vt:lpstr>Ausblick</vt:lpstr>
      <vt:lpstr>PowerPoint-Präsentation</vt:lpstr>
      <vt:lpstr>Referenzen</vt:lpstr>
      <vt:lpstr>Referenzen</vt:lpstr>
      <vt:lpstr>Ansprechpartnerin / Kontakt für Rückfragen</vt:lpstr>
      <vt:lpstr>Zusatzinfos</vt:lpstr>
      <vt:lpstr>Webseite FDZ PIAAC</vt:lpstr>
      <vt:lpstr>OECD Skills Surveys </vt:lpstr>
      <vt:lpstr>PIAAC -  Kompetenzen: Beispielaufgaben</vt:lpstr>
      <vt:lpstr>PIAAC –  Hintergrundfragebogen</vt:lpstr>
      <vt:lpstr>PIAAC-L Desig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nsortSWD Vorlage Folien</dc:title>
  <dc:creator>Claudia Kreutz</dc:creator>
  <cp:lastModifiedBy>Maehler, Débora</cp:lastModifiedBy>
  <cp:revision>279</cp:revision>
  <cp:lastPrinted>2023-10-18T10:14:54Z</cp:lastPrinted>
  <dcterms:created xsi:type="dcterms:W3CDTF">2023-06-06T12:44:55Z</dcterms:created>
  <dcterms:modified xsi:type="dcterms:W3CDTF">2023-10-19T12:35:04Z</dcterms:modified>
</cp:coreProperties>
</file>